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diagrams/layout2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9"/>
  </p:notesMasterIdLst>
  <p:sldIdLst>
    <p:sldId id="257" r:id="rId2"/>
    <p:sldId id="1475" r:id="rId3"/>
    <p:sldId id="1477" r:id="rId4"/>
    <p:sldId id="1473" r:id="rId5"/>
    <p:sldId id="1476" r:id="rId6"/>
    <p:sldId id="1474" r:id="rId7"/>
    <p:sldId id="1485" r:id="rId8"/>
    <p:sldId id="1479" r:id="rId9"/>
    <p:sldId id="1484" r:id="rId10"/>
    <p:sldId id="1480" r:id="rId11"/>
    <p:sldId id="1481" r:id="rId12"/>
    <p:sldId id="1482" r:id="rId13"/>
    <p:sldId id="1478" r:id="rId14"/>
    <p:sldId id="1483" r:id="rId15"/>
    <p:sldId id="1486" r:id="rId16"/>
    <p:sldId id="1487" r:id="rId17"/>
    <p:sldId id="1282" r:id="rId18"/>
  </p:sldIdLst>
  <p:sldSz cx="12192000" cy="6858000"/>
  <p:notesSz cx="6797675" cy="9926638"/>
  <p:custDataLst>
    <p:tags r:id="rId20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Συντάκτης" initials="Σ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EECEF"/>
    <a:srgbClr val="D9D9D9"/>
    <a:srgbClr val="417B85"/>
    <a:srgbClr val="7F8FA9"/>
    <a:srgbClr val="1F5FA0"/>
    <a:srgbClr val="A9CCEE"/>
    <a:srgbClr val="9CC7CE"/>
    <a:srgbClr val="7EB2E6"/>
    <a:srgbClr val="D6DCE5"/>
    <a:srgbClr val="DB536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98" autoAdjust="0"/>
    <p:restoredTop sz="99585" autoAdjust="0"/>
  </p:normalViewPr>
  <p:slideViewPr>
    <p:cSldViewPr snapToGrid="0">
      <p:cViewPr>
        <p:scale>
          <a:sx n="70" d="100"/>
          <a:sy n="70" d="100"/>
        </p:scale>
        <p:origin x="-276" y="-95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600" b="1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r>
            <a:rPr lang="el-GR" sz="1600" b="1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5">
            <a:lumMod val="75000"/>
          </a:schemeClr>
        </a:solidFill>
        <a:ln w="38100">
          <a:solidFill>
            <a:schemeClr val="bg1"/>
          </a:solidFill>
        </a:ln>
      </dgm:spPr>
      <dgm:t>
        <a:bodyPr/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89</a:t>
          </a:r>
          <a:r>
            <a:rPr lang="el-GR" sz="14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4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60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+mn-lt"/>
            </a:rPr>
            <a:t>1</a:t>
          </a:r>
          <a:r>
            <a:rPr lang="el-GR" sz="1800" b="1" kern="1200" dirty="0" smtClean="0">
              <a:solidFill>
                <a:schemeClr val="bg1"/>
              </a:solidFill>
              <a:latin typeface="+mn-lt"/>
            </a:rPr>
            <a:t>3 %</a:t>
          </a:r>
          <a:r>
            <a:rPr lang="el-GR" sz="1800" b="1" kern="1200" dirty="0" smtClean="0">
              <a:solidFill>
                <a:srgbClr val="FF0000"/>
              </a:solidFill>
              <a:latin typeface="+mn-lt"/>
            </a:rPr>
            <a:t> </a:t>
          </a:r>
          <a:endParaRPr lang="el-GR" sz="1800" b="1" kern="1200" dirty="0">
            <a:solidFill>
              <a:srgbClr val="FF0000"/>
            </a:solidFill>
            <a:latin typeface="+mn-lt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81425" custScaleY="74967" custLinFactNeighborX="329" custLinFactNeighborY="16996"/>
      <dgm:spPr/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2F0C3FE4-9D7E-48EC-9981-BE5AC9FF05B8}" type="presOf" srcId="{3B982813-2EC8-49D2-9BF6-81C7D5B56F90}" destId="{790CDD3D-C6E7-4168-8476-AD11E7E89D05}" srcOrd="1" destOrd="0" presId="urn:microsoft.com/office/officeart/2005/8/layout/venn2"/>
    <dgm:cxn modelId="{780F30D4-423E-464E-87F4-DB3A6C354834}" type="presOf" srcId="{CCA4746E-8D1C-4C20-942F-0B29885FFCF8}" destId="{45CBDC0E-8BC3-4755-A7B9-7A928DA2E474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6060BEAF-3C78-4956-8771-E14061C53ED1}" type="presOf" srcId="{139F27D0-33BA-46F8-929E-DDE5531A3EFA}" destId="{6F59DFD6-8362-45D6-8B53-AAE2836559EB}" srcOrd="0" destOrd="0" presId="urn:microsoft.com/office/officeart/2005/8/layout/venn2"/>
    <dgm:cxn modelId="{F66F2D80-30D8-4217-8DD1-29D59473160D}" type="presOf" srcId="{3B982813-2EC8-49D2-9BF6-81C7D5B56F90}" destId="{A03E450C-80C2-423B-94B7-4E580CD100A9}" srcOrd="0" destOrd="0" presId="urn:microsoft.com/office/officeart/2005/8/layout/venn2"/>
    <dgm:cxn modelId="{38BA3002-F651-474B-9764-BC34DC26E67D}" type="presOf" srcId="{CCA4746E-8D1C-4C20-942F-0B29885FFCF8}" destId="{8BA75686-023D-4614-B4BF-166E0E8B104D}" srcOrd="1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0B3FBC84-D4F8-45AC-884F-61D6D47CCFC5}" type="presParOf" srcId="{6F59DFD6-8362-45D6-8B53-AAE2836559EB}" destId="{DDC4A763-2F7E-468F-8FFA-06AC1575FD09}" srcOrd="0" destOrd="0" presId="urn:microsoft.com/office/officeart/2005/8/layout/venn2"/>
    <dgm:cxn modelId="{2AE939EB-7C28-453B-88EB-0D7FE4F836B4}" type="presParOf" srcId="{DDC4A763-2F7E-468F-8FFA-06AC1575FD09}" destId="{A03E450C-80C2-423B-94B7-4E580CD100A9}" srcOrd="0" destOrd="0" presId="urn:microsoft.com/office/officeart/2005/8/layout/venn2"/>
    <dgm:cxn modelId="{E59E1E16-9547-42EC-A872-11E94C0F8950}" type="presParOf" srcId="{DDC4A763-2F7E-468F-8FFA-06AC1575FD09}" destId="{790CDD3D-C6E7-4168-8476-AD11E7E89D05}" srcOrd="1" destOrd="0" presId="urn:microsoft.com/office/officeart/2005/8/layout/venn2"/>
    <dgm:cxn modelId="{A17FE6B9-BCD6-453F-81C3-93BE4DFB4D06}" type="presParOf" srcId="{6F59DFD6-8362-45D6-8B53-AAE2836559EB}" destId="{E0A10B30-0BDB-4BC1-920E-CE60F7C54338}" srcOrd="1" destOrd="0" presId="urn:microsoft.com/office/officeart/2005/8/layout/venn2"/>
    <dgm:cxn modelId="{08DFA291-1E80-4728-8C8E-DB9DD5037F1E}" type="presParOf" srcId="{E0A10B30-0BDB-4BC1-920E-CE60F7C54338}" destId="{45CBDC0E-8BC3-4755-A7B9-7A928DA2E474}" srcOrd="0" destOrd="0" presId="urn:microsoft.com/office/officeart/2005/8/layout/venn2"/>
    <dgm:cxn modelId="{5ADB5717-B033-40BF-9B60-1DA4F01E5E71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600" b="1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600" b="1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r>
            <a:rPr lang="el-GR" sz="1600" b="1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gm:spPr>
      <dgm:t>
        <a:bodyPr spcFirstLastPara="0" vert="horz" wrap="square" lIns="92456" tIns="92456" rIns="92456" bIns="92456" numCol="1" spcCol="1270" anchor="ctr" anchorCtr="0"/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63.125</a:t>
          </a:r>
          <a:endParaRPr lang="el-GR" sz="14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2</a:t>
          </a:r>
          <a:r>
            <a:rPr lang="en-US" sz="18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4</a:t>
          </a:r>
          <a:r>
            <a:rPr lang="el-GR" sz="18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% </a:t>
          </a:r>
          <a:endParaRPr lang="el-GR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83151" custScaleY="73907" custLinFactNeighborX="756" custLinFactNeighborY="12517"/>
      <dgm:spPr>
        <a:xfrm>
          <a:off x="1964197" y="1907968"/>
          <a:ext cx="2140255" cy="2140255"/>
        </a:xfrm>
        <a:prstGeom prst="ellipse">
          <a:avLst/>
        </a:prstGeom>
      </dgm:spPr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60AB29A3-941A-4A4B-80AB-E7CEA45B2107}" type="presOf" srcId="{139F27D0-33BA-46F8-929E-DDE5531A3EFA}" destId="{6F59DFD6-8362-45D6-8B53-AAE2836559EB}" srcOrd="0" destOrd="0" presId="urn:microsoft.com/office/officeart/2005/8/layout/venn2"/>
    <dgm:cxn modelId="{59B5C951-0EC2-4E5B-96BE-DD0A1CC0856B}" type="presOf" srcId="{CCA4746E-8D1C-4C20-942F-0B29885FFCF8}" destId="{45CBDC0E-8BC3-4755-A7B9-7A928DA2E474}" srcOrd="0" destOrd="0" presId="urn:microsoft.com/office/officeart/2005/8/layout/venn2"/>
    <dgm:cxn modelId="{16CA1847-2B8D-4F08-98DA-CE665596BAF6}" type="presOf" srcId="{3B982813-2EC8-49D2-9BF6-81C7D5B56F90}" destId="{790CDD3D-C6E7-4168-8476-AD11E7E89D05}" srcOrd="1" destOrd="0" presId="urn:microsoft.com/office/officeart/2005/8/layout/venn2"/>
    <dgm:cxn modelId="{874CC674-1E37-4EA9-86BF-9CBB81CA549C}" type="presOf" srcId="{3B982813-2EC8-49D2-9BF6-81C7D5B56F90}" destId="{A03E450C-80C2-423B-94B7-4E580CD100A9}" srcOrd="0" destOrd="0" presId="urn:microsoft.com/office/officeart/2005/8/layout/venn2"/>
    <dgm:cxn modelId="{2431F839-24B0-417D-B348-68114163272D}" type="presOf" srcId="{CCA4746E-8D1C-4C20-942F-0B29885FFCF8}" destId="{8BA75686-023D-4614-B4BF-166E0E8B104D}" srcOrd="1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98ABAC1A-2168-48DF-8DE8-4A39C668A2C1}" type="presParOf" srcId="{6F59DFD6-8362-45D6-8B53-AAE2836559EB}" destId="{DDC4A763-2F7E-468F-8FFA-06AC1575FD09}" srcOrd="0" destOrd="0" presId="urn:microsoft.com/office/officeart/2005/8/layout/venn2"/>
    <dgm:cxn modelId="{0B036AA7-7351-4E48-A31E-D8461F876FC5}" type="presParOf" srcId="{DDC4A763-2F7E-468F-8FFA-06AC1575FD09}" destId="{A03E450C-80C2-423B-94B7-4E580CD100A9}" srcOrd="0" destOrd="0" presId="urn:microsoft.com/office/officeart/2005/8/layout/venn2"/>
    <dgm:cxn modelId="{85031B53-C236-480E-9370-03B10C448335}" type="presParOf" srcId="{DDC4A763-2F7E-468F-8FFA-06AC1575FD09}" destId="{790CDD3D-C6E7-4168-8476-AD11E7E89D05}" srcOrd="1" destOrd="0" presId="urn:microsoft.com/office/officeart/2005/8/layout/venn2"/>
    <dgm:cxn modelId="{BE5E287C-A5D9-4AA6-882D-CEBBEC78CAB5}" type="presParOf" srcId="{6F59DFD6-8362-45D6-8B53-AAE2836559EB}" destId="{E0A10B30-0BDB-4BC1-920E-CE60F7C54338}" srcOrd="1" destOrd="0" presId="urn:microsoft.com/office/officeart/2005/8/layout/venn2"/>
    <dgm:cxn modelId="{0D33A08C-9C7B-4DAF-A5E7-13CA047E6D08}" type="presParOf" srcId="{E0A10B30-0BDB-4BC1-920E-CE60F7C54338}" destId="{45CBDC0E-8BC3-4755-A7B9-7A928DA2E474}" srcOrd="0" destOrd="0" presId="urn:microsoft.com/office/officeart/2005/8/layout/venn2"/>
    <dgm:cxn modelId="{7C33D754-8770-4B5E-9DD9-361DAB1EA87E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 smtClean="0"/>
            <a:t>580.416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89.060  </a:t>
          </a:r>
          <a:endParaRPr lang="el-GR" dirty="0">
            <a:solidFill>
              <a:schemeClr val="bg1"/>
            </a:solidFill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 smtClean="0">
              <a:solidFill>
                <a:schemeClr val="bg1"/>
              </a:solidFill>
            </a:rPr>
            <a:t>669.476</a:t>
          </a:r>
        </a:p>
        <a:p>
          <a:r>
            <a:rPr lang="el-GR" b="1" dirty="0" smtClean="0">
              <a:solidFill>
                <a:schemeClr val="bg1"/>
              </a:solidFill>
            </a:rPr>
            <a:t>(97%)</a:t>
          </a:r>
          <a:endParaRPr lang="el-GR" b="1" dirty="0">
            <a:solidFill>
              <a:schemeClr val="bg1"/>
            </a:solidFill>
          </a:endParaRP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2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2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03FA384B-8606-446F-B863-7C9891326A78}" type="pres">
      <dgm:prSet presAssocID="{89627D0D-D094-4C1B-B536-81934CB97AF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392A0DA3-C0CC-4C63-AF2D-57002FAE89EF}" srcId="{F4E5DEB1-F32D-42B2-B82F-BAA4139BADD7}" destId="{89627D0D-D094-4C1B-B536-81934CB97AFD}" srcOrd="2" destOrd="0" parTransId="{F3F278CE-F9F5-47FA-863D-8FF2AD44DC61}" sibTransId="{9189D91D-F122-441B-9647-75D2DB5848F3}"/>
    <dgm:cxn modelId="{CA02FD90-BD2F-465C-A703-2F3D6EB02761}" type="presOf" srcId="{ABA10E6C-9171-4A6F-98EA-299440B00DAD}" destId="{D3F546A5-5171-4E8A-8EAE-B258473985BC}" srcOrd="0" destOrd="0" presId="urn:microsoft.com/office/officeart/2005/8/layout/equation1"/>
    <dgm:cxn modelId="{ECB5F944-C63E-4F9C-89E4-70192AA9A588}" type="presOf" srcId="{00C559F7-DF0F-4150-AD11-717B2E191B31}" destId="{FC545151-7CA4-4760-B41B-DC70C9952FFD}" srcOrd="0" destOrd="0" presId="urn:microsoft.com/office/officeart/2005/8/layout/equation1"/>
    <dgm:cxn modelId="{745F811B-C161-4769-BE75-ECDFDAC44458}" type="presOf" srcId="{89627D0D-D094-4C1B-B536-81934CB97AFD}" destId="{03FA384B-8606-446F-B863-7C9891326A78}" srcOrd="0" destOrd="0" presId="urn:microsoft.com/office/officeart/2005/8/layout/equation1"/>
    <dgm:cxn modelId="{2402C8F1-C632-4D87-99B1-3C8A565A158B}" type="presOf" srcId="{1AAAF98C-B376-48DD-B32C-09051C3870C6}" destId="{4A0A71D1-E3BA-4D98-9A49-5CD008C198C4}" srcOrd="0" destOrd="0" presId="urn:microsoft.com/office/officeart/2005/8/layout/equation1"/>
    <dgm:cxn modelId="{13084C4E-B2A7-4540-AD3C-64D8F4AFB0EE}" type="presOf" srcId="{0B1EAAB9-2035-432F-8648-8262700522E9}" destId="{13DFEB32-BEAA-43D4-8420-832402BA4A34}" srcOrd="0" destOrd="0" presId="urn:microsoft.com/office/officeart/2005/8/layout/equation1"/>
    <dgm:cxn modelId="{23F9405C-7E0C-4189-800F-233239F241A0}" type="presOf" srcId="{F4E5DEB1-F32D-42B2-B82F-BAA4139BADD7}" destId="{670B754E-C896-4088-B04C-84F730F65D37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B289F8F7-9329-4A9E-82EC-930BB223B111}" type="presParOf" srcId="{670B754E-C896-4088-B04C-84F730F65D37}" destId="{13DFEB32-BEAA-43D4-8420-832402BA4A34}" srcOrd="0" destOrd="0" presId="urn:microsoft.com/office/officeart/2005/8/layout/equation1"/>
    <dgm:cxn modelId="{BF57B31B-CF31-407B-9FA6-3969B8586CFD}" type="presParOf" srcId="{670B754E-C896-4088-B04C-84F730F65D37}" destId="{3CF2E5AE-1D0C-4A77-9682-35C0EAA9275B}" srcOrd="1" destOrd="0" presId="urn:microsoft.com/office/officeart/2005/8/layout/equation1"/>
    <dgm:cxn modelId="{A5BA340A-019A-4B76-AE4F-A5AC3B4863CC}" type="presParOf" srcId="{670B754E-C896-4088-B04C-84F730F65D37}" destId="{D3F546A5-5171-4E8A-8EAE-B258473985BC}" srcOrd="2" destOrd="0" presId="urn:microsoft.com/office/officeart/2005/8/layout/equation1"/>
    <dgm:cxn modelId="{CB4711E5-A4E3-4DFD-8DC5-C0E2E0AFF418}" type="presParOf" srcId="{670B754E-C896-4088-B04C-84F730F65D37}" destId="{8DB036C4-F3FC-4780-B6F8-EF9CC4AEAFAA}" srcOrd="3" destOrd="0" presId="urn:microsoft.com/office/officeart/2005/8/layout/equation1"/>
    <dgm:cxn modelId="{BB84899F-3552-4AFA-9426-32D0B86541AF}" type="presParOf" srcId="{670B754E-C896-4088-B04C-84F730F65D37}" destId="{4A0A71D1-E3BA-4D98-9A49-5CD008C198C4}" srcOrd="4" destOrd="0" presId="urn:microsoft.com/office/officeart/2005/8/layout/equation1"/>
    <dgm:cxn modelId="{994E711B-9CB8-4E3E-8E56-3DF071DE7D68}" type="presParOf" srcId="{670B754E-C896-4088-B04C-84F730F65D37}" destId="{2B51B7A0-8623-41AE-BFC8-768DD75345FA}" srcOrd="5" destOrd="0" presId="urn:microsoft.com/office/officeart/2005/8/layout/equation1"/>
    <dgm:cxn modelId="{26ED24E5-6BB9-4070-88ED-E78775FC2A01}" type="presParOf" srcId="{670B754E-C896-4088-B04C-84F730F65D37}" destId="{FC545151-7CA4-4760-B41B-DC70C9952FFD}" srcOrd="6" destOrd="0" presId="urn:microsoft.com/office/officeart/2005/8/layout/equation1"/>
    <dgm:cxn modelId="{1DFE1FF9-820F-4C84-A222-A900DEAAF445}" type="presParOf" srcId="{670B754E-C896-4088-B04C-84F730F65D37}" destId="{565E511C-3603-4E16-BA14-5A9C9C5EAF48}" srcOrd="7" destOrd="0" presId="urn:microsoft.com/office/officeart/2005/8/layout/equation1"/>
    <dgm:cxn modelId="{07287B75-F9B0-4324-A6A8-D1D1FE94D33F}" type="presParOf" srcId="{670B754E-C896-4088-B04C-84F730F65D37}" destId="{03FA384B-8606-446F-B863-7C9891326A78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l-GR" b="1" dirty="0" smtClean="0"/>
            <a:t>186</a:t>
          </a:r>
          <a:r>
            <a:rPr lang="en-US" b="1" dirty="0" smtClean="0"/>
            <a:t>.</a:t>
          </a:r>
          <a:r>
            <a:rPr lang="el-GR" b="1" dirty="0" smtClean="0"/>
            <a:t>096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n-US" b="1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63.125</a:t>
          </a:r>
          <a:r>
            <a:rPr lang="el-GR" b="1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  </a:t>
          </a:r>
          <a:endParaRPr lang="el-GR" dirty="0">
            <a:solidFill>
              <a:schemeClr val="bg1"/>
            </a:solidFill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l-GR" b="1" dirty="0" smtClean="0">
              <a:solidFill>
                <a:schemeClr val="bg1"/>
              </a:solidFill>
            </a:rPr>
            <a:t>2</a:t>
          </a:r>
          <a:r>
            <a:rPr lang="en-US" b="1" dirty="0" smtClean="0">
              <a:solidFill>
                <a:schemeClr val="bg1"/>
              </a:solidFill>
            </a:rPr>
            <a:t>49.221</a:t>
          </a:r>
          <a:endParaRPr lang="el-GR" b="1" dirty="0" smtClean="0">
            <a:solidFill>
              <a:schemeClr val="bg1"/>
            </a:solidFill>
          </a:endParaRPr>
        </a:p>
        <a:p>
          <a:r>
            <a:rPr lang="el-GR" b="1" dirty="0" smtClean="0">
              <a:solidFill>
                <a:schemeClr val="bg1"/>
              </a:solidFill>
            </a:rPr>
            <a:t>(</a:t>
          </a:r>
          <a:r>
            <a:rPr lang="en-US" b="1" dirty="0" smtClean="0">
              <a:solidFill>
                <a:schemeClr val="bg1"/>
              </a:solidFill>
            </a:rPr>
            <a:t>95</a:t>
          </a:r>
          <a:r>
            <a:rPr lang="el-GR" b="1" dirty="0" smtClean="0">
              <a:solidFill>
                <a:schemeClr val="bg1"/>
              </a:solidFill>
            </a:rPr>
            <a:t>%)</a:t>
          </a:r>
          <a:endParaRPr lang="el-GR" b="1" dirty="0">
            <a:solidFill>
              <a:schemeClr val="bg1"/>
            </a:solidFill>
          </a:endParaRP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2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2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03FA384B-8606-446F-B863-7C9891326A78}" type="pres">
      <dgm:prSet presAssocID="{89627D0D-D094-4C1B-B536-81934CB97AF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7EBA3636-B9F6-4EFD-98F1-7571E7DEBAB5}" type="presOf" srcId="{89627D0D-D094-4C1B-B536-81934CB97AFD}" destId="{03FA384B-8606-446F-B863-7C9891326A78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392A0DA3-C0CC-4C63-AF2D-57002FAE89EF}" srcId="{F4E5DEB1-F32D-42B2-B82F-BAA4139BADD7}" destId="{89627D0D-D094-4C1B-B536-81934CB97AFD}" srcOrd="2" destOrd="0" parTransId="{F3F278CE-F9F5-47FA-863D-8FF2AD44DC61}" sibTransId="{9189D91D-F122-441B-9647-75D2DB5848F3}"/>
    <dgm:cxn modelId="{372CA138-8612-4B19-8F30-26EA07EBBCF2}" type="presOf" srcId="{00C559F7-DF0F-4150-AD11-717B2E191B31}" destId="{FC545151-7CA4-4760-B41B-DC70C9952FFD}" srcOrd="0" destOrd="0" presId="urn:microsoft.com/office/officeart/2005/8/layout/equation1"/>
    <dgm:cxn modelId="{E21656AA-50FC-4ED4-9226-E43DE89D1083}" type="presOf" srcId="{ABA10E6C-9171-4A6F-98EA-299440B00DAD}" destId="{D3F546A5-5171-4E8A-8EAE-B258473985BC}" srcOrd="0" destOrd="0" presId="urn:microsoft.com/office/officeart/2005/8/layout/equation1"/>
    <dgm:cxn modelId="{DF24B58F-E826-42E3-BB47-83D8C32664D9}" type="presOf" srcId="{1AAAF98C-B376-48DD-B32C-09051C3870C6}" destId="{4A0A71D1-E3BA-4D98-9A49-5CD008C198C4}" srcOrd="0" destOrd="0" presId="urn:microsoft.com/office/officeart/2005/8/layout/equation1"/>
    <dgm:cxn modelId="{08E3B823-B1AB-4C34-95F5-A70CB08E9D76}" type="presOf" srcId="{0B1EAAB9-2035-432F-8648-8262700522E9}" destId="{13DFEB32-BEAA-43D4-8420-832402BA4A34}" srcOrd="0" destOrd="0" presId="urn:microsoft.com/office/officeart/2005/8/layout/equation1"/>
    <dgm:cxn modelId="{53A0823F-1524-4EC0-96E5-67AFEBDFCE04}" type="presOf" srcId="{F4E5DEB1-F32D-42B2-B82F-BAA4139BADD7}" destId="{670B754E-C896-4088-B04C-84F730F65D37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09397AB7-522A-4CC3-ADE4-09C6CA62396C}" type="presParOf" srcId="{670B754E-C896-4088-B04C-84F730F65D37}" destId="{13DFEB32-BEAA-43D4-8420-832402BA4A34}" srcOrd="0" destOrd="0" presId="urn:microsoft.com/office/officeart/2005/8/layout/equation1"/>
    <dgm:cxn modelId="{5FFD34F8-382D-476D-8BCB-09AC8DF5DF06}" type="presParOf" srcId="{670B754E-C896-4088-B04C-84F730F65D37}" destId="{3CF2E5AE-1D0C-4A77-9682-35C0EAA9275B}" srcOrd="1" destOrd="0" presId="urn:microsoft.com/office/officeart/2005/8/layout/equation1"/>
    <dgm:cxn modelId="{B21E0FB5-88CB-4F92-9E54-E77B75D2083F}" type="presParOf" srcId="{670B754E-C896-4088-B04C-84F730F65D37}" destId="{D3F546A5-5171-4E8A-8EAE-B258473985BC}" srcOrd="2" destOrd="0" presId="urn:microsoft.com/office/officeart/2005/8/layout/equation1"/>
    <dgm:cxn modelId="{EC9DBB1B-1AF9-4463-857D-71C45A2B4048}" type="presParOf" srcId="{670B754E-C896-4088-B04C-84F730F65D37}" destId="{8DB036C4-F3FC-4780-B6F8-EF9CC4AEAFAA}" srcOrd="3" destOrd="0" presId="urn:microsoft.com/office/officeart/2005/8/layout/equation1"/>
    <dgm:cxn modelId="{40913F71-5388-4E16-9926-EE032CD106EF}" type="presParOf" srcId="{670B754E-C896-4088-B04C-84F730F65D37}" destId="{4A0A71D1-E3BA-4D98-9A49-5CD008C198C4}" srcOrd="4" destOrd="0" presId="urn:microsoft.com/office/officeart/2005/8/layout/equation1"/>
    <dgm:cxn modelId="{89246E7D-E131-4724-8776-421727033C26}" type="presParOf" srcId="{670B754E-C896-4088-B04C-84F730F65D37}" destId="{2B51B7A0-8623-41AE-BFC8-768DD75345FA}" srcOrd="5" destOrd="0" presId="urn:microsoft.com/office/officeart/2005/8/layout/equation1"/>
    <dgm:cxn modelId="{2D9F95EF-CB43-4484-9950-3A3EB9E141A0}" type="presParOf" srcId="{670B754E-C896-4088-B04C-84F730F65D37}" destId="{FC545151-7CA4-4760-B41B-DC70C9952FFD}" srcOrd="6" destOrd="0" presId="urn:microsoft.com/office/officeart/2005/8/layout/equation1"/>
    <dgm:cxn modelId="{71AB0B54-6983-424B-9790-D0DCDF533B66}" type="presParOf" srcId="{670B754E-C896-4088-B04C-84F730F65D37}" destId="{565E511C-3603-4E16-BA14-5A9C9C5EAF48}" srcOrd="7" destOrd="0" presId="urn:microsoft.com/office/officeart/2005/8/layout/equation1"/>
    <dgm:cxn modelId="{7B1B9664-FFD1-4101-9A94-420FE1B2DA72}" type="presParOf" srcId="{670B754E-C896-4088-B04C-84F730F65D37}" destId="{03FA384B-8606-446F-B863-7C9891326A78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6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1526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0EAC3B22-3027-4AD3-B2F7-774EB1A3DD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7670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8694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9718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0742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5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846412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Google Shape;35;p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6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38137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2550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20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2556" y="682524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822634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p:oleObj spid="_x0000_s67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3574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4598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5622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9271039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p:oleObj spid="_x0000_s3688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6646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44729317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p:oleObj spid="_x0000_s2686" name="think-cell Slide" r:id="rId18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1" y="5903652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2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5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D387AD-60A4-4DA0-8C2C-DAF13D11BF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846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C0822DE-4430-4372-9EB4-9DA2280C6A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703" y="4113024"/>
            <a:ext cx="7005849" cy="759227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xmlns="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42983" y="5099651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chemeClr val="dk1"/>
              </a:buClr>
              <a:buSzPts val="2000"/>
            </a:pPr>
            <a:endParaRPr sz="2000" dirty="0"/>
          </a:p>
          <a:p>
            <a:pPr>
              <a:lnSpc>
                <a:spcPct val="100000"/>
              </a:lnSpc>
              <a:buClr>
                <a:schemeClr val="dk1"/>
              </a:buClr>
              <a:buSzPts val="1800"/>
            </a:pPr>
            <a:r>
              <a:rPr lang="el-GR" sz="1800" b="1" dirty="0" smtClean="0"/>
              <a:t>3</a:t>
            </a:r>
            <a:r>
              <a:rPr lang="el-GR" sz="1800" b="1" baseline="30000" dirty="0" smtClean="0"/>
              <a:t>η</a:t>
            </a:r>
            <a:r>
              <a:rPr lang="el-GR" sz="1800" b="1" dirty="0" smtClean="0"/>
              <a:t> Ιουνίου </a:t>
            </a:r>
            <a:r>
              <a:rPr lang="el-GR" sz="1800" b="1" dirty="0"/>
              <a:t>2020</a:t>
            </a:r>
            <a:endParaRPr sz="18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6151001" y="2984317"/>
            <a:ext cx="5484477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Επαναφορά</a:t>
            </a:r>
            <a:r>
              <a:rPr kumimoji="0" lang="el-GR" sz="360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οικονομικών δραστηριοτήτων</a:t>
            </a: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lang="el-GR" sz="2900" b="1" dirty="0" smtClean="0">
              <a:solidFill>
                <a:schemeClr val="accent3">
                  <a:lumMod val="50000"/>
                </a:schemeClr>
              </a:solidFill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  <p:sp>
        <p:nvSpPr>
          <p:cNvPr id="7" name="6 - Ορθογώνιο"/>
          <p:cNvSpPr/>
          <p:nvPr/>
        </p:nvSpPr>
        <p:spPr>
          <a:xfrm>
            <a:off x="1232846" y="6211669"/>
            <a:ext cx="8334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 smtClean="0">
                <a:solidFill>
                  <a:schemeClr val="bg1"/>
                </a:solidFill>
                <a:ea typeface="Arial"/>
                <a:cs typeface="Arial"/>
                <a:sym typeface="Georgia"/>
              </a:rPr>
              <a:t>Υπουργείο Ανάπτυξης και Επενδύσεων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544833" y="670728"/>
            <a:ext cx="5102105" cy="2437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Σχέδιο σταδιακής αποκλιμάκωσης </a:t>
            </a:r>
            <a:r>
              <a:rPr lang="el-GR" sz="3200" b="1" noProof="0" dirty="0" smtClean="0">
                <a:latin typeface="Helvetica Neue"/>
                <a:ea typeface="Arial"/>
                <a:cs typeface="Arial"/>
                <a:sym typeface="Georgia"/>
              </a:rPr>
              <a:t>των </a:t>
            </a: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περιοριστικών μέτρων </a:t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/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endParaRPr kumimoji="0" lang="el-G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- Ορθογώνιο"/>
          <p:cNvSpPr/>
          <p:nvPr/>
        </p:nvSpPr>
        <p:spPr>
          <a:xfrm>
            <a:off x="2484408" y="3122762"/>
            <a:ext cx="422694" cy="2674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1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δεν τοποθετείται κάθισμα.</a:t>
            </a:r>
          </a:p>
        </p:txBody>
      </p:sp>
      <p:sp>
        <p:nvSpPr>
          <p:cNvPr id="9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891831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0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365507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1" name="10 - Ορθογώνιο"/>
          <p:cNvSpPr/>
          <p:nvPr/>
        </p:nvSpPr>
        <p:spPr>
          <a:xfrm>
            <a:off x="2574031" y="3502323"/>
            <a:ext cx="583235" cy="1897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050" dirty="0" smtClean="0">
                <a:solidFill>
                  <a:srgbClr val="FF0000"/>
                </a:solidFill>
              </a:rPr>
              <a:t>0,80μ</a:t>
            </a:r>
            <a:endParaRPr lang="el-GR" sz="1050" dirty="0">
              <a:solidFill>
                <a:srgbClr val="FF0000"/>
              </a:solidFill>
            </a:endParaRPr>
          </a:p>
        </p:txBody>
      </p:sp>
      <p:sp>
        <p:nvSpPr>
          <p:cNvPr id="12" name="11 - Ορθογώνιο"/>
          <p:cNvSpPr/>
          <p:nvPr/>
        </p:nvSpPr>
        <p:spPr>
          <a:xfrm>
            <a:off x="8512520" y="4073519"/>
            <a:ext cx="587829" cy="300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dirty="0" smtClean="0">
                <a:solidFill>
                  <a:srgbClr val="FF0000"/>
                </a:solidFill>
              </a:rPr>
              <a:t>0,80</a:t>
            </a:r>
            <a:endParaRPr lang="el-GR" sz="1400" dirty="0">
              <a:solidFill>
                <a:srgbClr val="FF0000"/>
              </a:solidFill>
            </a:endParaRPr>
          </a:p>
        </p:txBody>
      </p:sp>
      <p:grpSp>
        <p:nvGrpSpPr>
          <p:cNvPr id="2" name="20 - Ομάδα"/>
          <p:cNvGrpSpPr/>
          <p:nvPr/>
        </p:nvGrpSpPr>
        <p:grpSpPr>
          <a:xfrm>
            <a:off x="631457" y="2795030"/>
            <a:ext cx="4133850" cy="2324100"/>
            <a:chOff x="640982" y="2795030"/>
            <a:chExt cx="4133850" cy="2324100"/>
          </a:xfrm>
        </p:grpSpPr>
        <p:pic>
          <p:nvPicPr>
            <p:cNvPr id="7" name="Εικόνα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0982" y="2795030"/>
              <a:ext cx="4133850" cy="2324100"/>
            </a:xfrm>
            <a:prstGeom prst="rect">
              <a:avLst/>
            </a:prstGeom>
          </p:spPr>
        </p:pic>
        <p:sp>
          <p:nvSpPr>
            <p:cNvPr id="17" name="16 - Ορθογώνιο"/>
            <p:cNvSpPr/>
            <p:nvPr/>
          </p:nvSpPr>
          <p:spPr>
            <a:xfrm>
              <a:off x="2467155" y="3165894"/>
              <a:ext cx="405441" cy="2329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24" name="23 - Ορθογώνιο"/>
          <p:cNvSpPr/>
          <p:nvPr/>
        </p:nvSpPr>
        <p:spPr>
          <a:xfrm>
            <a:off x="2298460" y="3150933"/>
            <a:ext cx="587829" cy="300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200" b="1" dirty="0" smtClean="0">
                <a:solidFill>
                  <a:srgbClr val="FF0000"/>
                </a:solidFill>
              </a:rPr>
              <a:t>0,90</a:t>
            </a:r>
            <a:endParaRPr lang="el-GR" sz="1200" b="1" dirty="0">
              <a:solidFill>
                <a:srgbClr val="FF0000"/>
              </a:solidFill>
            </a:endParaRPr>
          </a:p>
        </p:txBody>
      </p:sp>
      <p:grpSp>
        <p:nvGrpSpPr>
          <p:cNvPr id="3" name="29 - Ομάδα"/>
          <p:cNvGrpSpPr/>
          <p:nvPr/>
        </p:nvGrpSpPr>
        <p:grpSpPr>
          <a:xfrm>
            <a:off x="6285297" y="2519112"/>
            <a:ext cx="4876800" cy="2686050"/>
            <a:chOff x="6285297" y="2519112"/>
            <a:chExt cx="4876800" cy="2686050"/>
          </a:xfrm>
        </p:grpSpPr>
        <p:pic>
          <p:nvPicPr>
            <p:cNvPr id="8" name="Εικόνα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5297" y="2519112"/>
              <a:ext cx="4876800" cy="2686050"/>
            </a:xfrm>
            <a:prstGeom prst="rect">
              <a:avLst/>
            </a:prstGeom>
          </p:spPr>
        </p:pic>
        <p:sp>
          <p:nvSpPr>
            <p:cNvPr id="29" name="28 - Ορθογώνιο"/>
            <p:cNvSpPr/>
            <p:nvPr/>
          </p:nvSpPr>
          <p:spPr>
            <a:xfrm>
              <a:off x="8362950" y="3114675"/>
              <a:ext cx="476250" cy="276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41" name="40 - Ορθογώνιο"/>
          <p:cNvSpPr/>
          <p:nvPr/>
        </p:nvSpPr>
        <p:spPr>
          <a:xfrm>
            <a:off x="8270157" y="3139644"/>
            <a:ext cx="587829" cy="300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200" b="1" dirty="0" smtClean="0">
                <a:solidFill>
                  <a:srgbClr val="FF0000"/>
                </a:solidFill>
              </a:rPr>
              <a:t>0,90</a:t>
            </a:r>
            <a:endParaRPr lang="el-GR" sz="1200" b="1" dirty="0">
              <a:solidFill>
                <a:srgbClr val="FF0000"/>
              </a:solidFill>
            </a:endParaRPr>
          </a:p>
        </p:txBody>
      </p:sp>
      <p:sp>
        <p:nvSpPr>
          <p:cNvPr id="43" name="Rectangle: Diagonal Corners Snipped 10">
            <a:extLst>
              <a:ext uri="{FF2B5EF4-FFF2-40B4-BE49-F238E27FC236}">
                <a16:creationId xmlns=""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6</a:t>
            </a:r>
            <a:r>
              <a:rPr lang="en-GB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1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74552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2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τοποθετούνται καθίσματα μόνο στο ένα εκ των δύο τραπεζιών.</a:t>
            </a:r>
            <a:endParaRPr lang="el-GR" dirty="0">
              <a:solidFill>
                <a:srgbClr val="002060"/>
              </a:solidFill>
            </a:endParaRPr>
          </a:p>
        </p:txBody>
      </p:sp>
      <p:sp>
        <p:nvSpPr>
          <p:cNvPr id="8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930332" y="5623760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0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857890" y="561456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grpSp>
        <p:nvGrpSpPr>
          <p:cNvPr id="2" name="12 - Ομάδα"/>
          <p:cNvGrpSpPr/>
          <p:nvPr/>
        </p:nvGrpSpPr>
        <p:grpSpPr>
          <a:xfrm>
            <a:off x="667000" y="3003232"/>
            <a:ext cx="4505325" cy="2314575"/>
            <a:chOff x="667000" y="3003232"/>
            <a:chExt cx="4505325" cy="2314575"/>
          </a:xfrm>
        </p:grpSpPr>
        <p:pic>
          <p:nvPicPr>
            <p:cNvPr id="7" name="Εικόνα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7000" y="3003232"/>
              <a:ext cx="4505325" cy="2314575"/>
            </a:xfrm>
            <a:prstGeom prst="rect">
              <a:avLst/>
            </a:prstGeom>
          </p:spPr>
        </p:pic>
        <p:sp>
          <p:nvSpPr>
            <p:cNvPr id="12" name="11 - Ορθογώνιο"/>
            <p:cNvSpPr/>
            <p:nvPr/>
          </p:nvSpPr>
          <p:spPr>
            <a:xfrm>
              <a:off x="2375065" y="3301340"/>
              <a:ext cx="700644" cy="3443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cxnSp>
        <p:nvCxnSpPr>
          <p:cNvPr id="18" name="17 - Ευθεία γραμμή σύνδεσης"/>
          <p:cNvCxnSpPr/>
          <p:nvPr/>
        </p:nvCxnSpPr>
        <p:spPr>
          <a:xfrm>
            <a:off x="7972177" y="5167994"/>
            <a:ext cx="1336098" cy="7669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20 - Ορθογώνιο"/>
          <p:cNvSpPr/>
          <p:nvPr/>
        </p:nvSpPr>
        <p:spPr>
          <a:xfrm>
            <a:off x="2538468" y="3359913"/>
            <a:ext cx="587829" cy="300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 smtClean="0">
                <a:solidFill>
                  <a:srgbClr val="FF0000"/>
                </a:solidFill>
              </a:rPr>
              <a:t>1,20</a:t>
            </a:r>
            <a:endParaRPr lang="el-GR" sz="1400" b="1" dirty="0">
              <a:solidFill>
                <a:srgbClr val="FF0000"/>
              </a:solidFill>
            </a:endParaRPr>
          </a:p>
        </p:txBody>
      </p:sp>
      <p:sp>
        <p:nvSpPr>
          <p:cNvPr id="22" name="21 - Ορθογώνιο"/>
          <p:cNvSpPr/>
          <p:nvPr/>
        </p:nvSpPr>
        <p:spPr>
          <a:xfrm>
            <a:off x="8134399" y="2693717"/>
            <a:ext cx="93222" cy="19440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pSp>
        <p:nvGrpSpPr>
          <p:cNvPr id="3" name="23 - Ομάδα"/>
          <p:cNvGrpSpPr/>
          <p:nvPr/>
        </p:nvGrpSpPr>
        <p:grpSpPr>
          <a:xfrm>
            <a:off x="6452485" y="2679382"/>
            <a:ext cx="4638675" cy="2638425"/>
            <a:chOff x="6452485" y="2679382"/>
            <a:chExt cx="4638675" cy="2638425"/>
          </a:xfrm>
        </p:grpSpPr>
        <p:pic>
          <p:nvPicPr>
            <p:cNvPr id="9" name="Εικόνα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52485" y="2679382"/>
              <a:ext cx="4638675" cy="2638425"/>
            </a:xfrm>
            <a:prstGeom prst="rect">
              <a:avLst/>
            </a:prstGeom>
          </p:spPr>
        </p:pic>
        <p:sp>
          <p:nvSpPr>
            <p:cNvPr id="23" name="22 - Ορθογώνιο"/>
            <p:cNvSpPr/>
            <p:nvPr/>
          </p:nvSpPr>
          <p:spPr>
            <a:xfrm>
              <a:off x="8286997" y="2859973"/>
              <a:ext cx="700644" cy="3443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28" name="27 - Ορθογώνιο"/>
          <p:cNvSpPr/>
          <p:nvPr/>
        </p:nvSpPr>
        <p:spPr>
          <a:xfrm>
            <a:off x="8343522" y="2930423"/>
            <a:ext cx="587829" cy="300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 smtClean="0">
                <a:solidFill>
                  <a:srgbClr val="FF0000"/>
                </a:solidFill>
              </a:rPr>
              <a:t>1,20</a:t>
            </a:r>
            <a:endParaRPr lang="el-GR" sz="1400" b="1" dirty="0">
              <a:solidFill>
                <a:srgbClr val="FF0000"/>
              </a:solidFill>
            </a:endParaRPr>
          </a:p>
        </p:txBody>
      </p:sp>
      <p:sp>
        <p:nvSpPr>
          <p:cNvPr id="29" name="Rectangle: Diagonal Corners Snipped 10">
            <a:extLst>
              <a:ext uri="{FF2B5EF4-FFF2-40B4-BE49-F238E27FC236}">
                <a16:creationId xmlns=""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6</a:t>
            </a:r>
            <a:r>
              <a:rPr lang="en-GB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1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9138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3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με καθίσματα στον ενδιάμεσο χώρο και των δύο τραπεζιών.</a:t>
            </a:r>
            <a:endParaRPr lang="el-GR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 rotWithShape="1">
          <a:blip r:embed="rId2"/>
          <a:srcRect r="961" b="51706"/>
          <a:stretch/>
        </p:blipFill>
        <p:spPr>
          <a:xfrm>
            <a:off x="554947" y="3124723"/>
            <a:ext cx="5518594" cy="2631184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 rotWithShape="1">
          <a:blip r:embed="rId2"/>
          <a:srcRect t="52783" r="-233"/>
          <a:stretch/>
        </p:blipFill>
        <p:spPr>
          <a:xfrm>
            <a:off x="6253973" y="2974206"/>
            <a:ext cx="5585101" cy="2572552"/>
          </a:xfrm>
          <a:prstGeom prst="rect">
            <a:avLst/>
          </a:prstGeom>
        </p:spPr>
      </p:pic>
      <p:sp>
        <p:nvSpPr>
          <p:cNvPr id="10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959208" y="572691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1" name="3 - TextBox">
            <a:extLst>
              <a:ext uri="{FF2B5EF4-FFF2-40B4-BE49-F238E27FC236}">
                <a16:creationId xmlns=""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684635" y="5755907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2" name="11 - Ορθογώνιο"/>
          <p:cNvSpPr/>
          <p:nvPr/>
        </p:nvSpPr>
        <p:spPr>
          <a:xfrm>
            <a:off x="2838203" y="3170712"/>
            <a:ext cx="653142" cy="5700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12 - Ορθογώνιο"/>
          <p:cNvSpPr/>
          <p:nvPr/>
        </p:nvSpPr>
        <p:spPr>
          <a:xfrm>
            <a:off x="2906602" y="3443041"/>
            <a:ext cx="587829" cy="300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 smtClean="0">
                <a:solidFill>
                  <a:srgbClr val="FF0000"/>
                </a:solidFill>
              </a:rPr>
              <a:t>1,80</a:t>
            </a:r>
            <a:endParaRPr lang="el-GR" sz="1400" b="1" dirty="0">
              <a:solidFill>
                <a:srgbClr val="FF0000"/>
              </a:solidFill>
            </a:endParaRPr>
          </a:p>
        </p:txBody>
      </p:sp>
      <p:sp>
        <p:nvSpPr>
          <p:cNvPr id="14" name="13 - Ορθογώνιο"/>
          <p:cNvSpPr/>
          <p:nvPr/>
        </p:nvSpPr>
        <p:spPr>
          <a:xfrm>
            <a:off x="8699781" y="2954173"/>
            <a:ext cx="587829" cy="300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 smtClean="0">
                <a:solidFill>
                  <a:srgbClr val="FF0000"/>
                </a:solidFill>
              </a:rPr>
              <a:t>1,80</a:t>
            </a:r>
            <a:endParaRPr lang="el-GR" sz="1400" b="1" dirty="0">
              <a:solidFill>
                <a:srgbClr val="FF0000"/>
              </a:solidFill>
            </a:endParaRPr>
          </a:p>
        </p:txBody>
      </p:sp>
      <p:sp>
        <p:nvSpPr>
          <p:cNvPr id="15" name="Rectangle: Diagonal Corners Snipped 10">
            <a:extLst>
              <a:ext uri="{FF2B5EF4-FFF2-40B4-BE49-F238E27FC236}">
                <a16:creationId xmlns=""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6</a:t>
            </a:r>
            <a:r>
              <a:rPr lang="en-GB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1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84482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47913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4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στο εσωτερικό των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897578"/>
            <a:ext cx="1180886" cy="36124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24956" y="2897578"/>
            <a:ext cx="7588200" cy="361240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endParaRPr lang="el-GR" sz="18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800" dirty="0" smtClean="0"/>
              <a:t>Όταν η διάθεση των γευμάτων γίνεται με τη διαδικασία του μπουφέ, τότε πραγματοποιείται από υπαλλήλους-σερβιτόρους της επιχείρησης, χωρίς να έρχεται σε επαφή ο πελάτης με τα σκεύη σερβιρίσματος και μεταξύ των προσφερόμενων γευμάτων και των καταναλωτών </a:t>
            </a:r>
            <a:r>
              <a:rPr lang="el-GR" sz="1800" b="1" dirty="0" smtClean="0"/>
              <a:t>τοποθετείται διαφανές </a:t>
            </a:r>
            <a:r>
              <a:rPr lang="el-GR" sz="1800" b="1" dirty="0" err="1" smtClean="0"/>
              <a:t>πέτασμα</a:t>
            </a:r>
            <a:r>
              <a:rPr lang="el-GR" sz="1800" dirty="0" smtClean="0"/>
              <a:t>, προκειμένου να καλύπτει το σύνολο της επιφάνειας των γευμάτων και </a:t>
            </a:r>
            <a:r>
              <a:rPr lang="el-GR" sz="1800" b="1" dirty="0" smtClean="0"/>
              <a:t>με άνοιγμα ικανό </a:t>
            </a:r>
            <a:r>
              <a:rPr lang="el-GR" sz="1800" dirty="0" smtClean="0"/>
              <a:t>να πραγματοποιείται με ασφάλεια το σερβίρισμα των καταναλωτών</a:t>
            </a:r>
            <a:r>
              <a:rPr lang="en-US" sz="1800" dirty="0" smtClean="0"/>
              <a:t>.</a:t>
            </a:r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800" dirty="0" smtClean="0"/>
              <a:t>Η</a:t>
            </a:r>
            <a:r>
              <a:rPr lang="el-GR" sz="1600" dirty="0" smtClean="0"/>
              <a:t> </a:t>
            </a:r>
            <a:r>
              <a:rPr lang="el-GR" sz="1800" dirty="0" smtClean="0"/>
              <a:t>απόσταση μεταξύ των εξυπηρετούμενων στον μπουφέ ορίζεται τα 1,5 μέτρα</a:t>
            </a:r>
            <a:r>
              <a:rPr lang="en-US" sz="1800" dirty="0" smtClean="0"/>
              <a:t>.</a:t>
            </a:r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800" dirty="0" smtClean="0"/>
              <a:t>Συστήνεται όπου δύναται, να προσφέρονται έτοιμοι συνδυασμοί προϊόντων π.χ. φρούτα, γλυκά</a:t>
            </a:r>
            <a:r>
              <a:rPr lang="en-US" sz="1800" dirty="0" smtClean="0"/>
              <a:t>.</a:t>
            </a:r>
            <a:endParaRPr lang="el-GR" sz="1800" dirty="0" smtClean="0"/>
          </a:p>
          <a:p>
            <a:pPr marL="565150" lvl="1" indent="0">
              <a:buNone/>
            </a:pPr>
            <a:endParaRPr lang="el-GR" sz="1800" b="1" dirty="0"/>
          </a:p>
          <a:p>
            <a:pPr marL="565150" lvl="1" indent="0">
              <a:buNone/>
            </a:pPr>
            <a:endParaRPr lang="el-GR" sz="1800" b="1" dirty="0"/>
          </a:p>
        </p:txBody>
      </p:sp>
      <p:sp>
        <p:nvSpPr>
          <p:cNvPr id="7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2074460"/>
            <a:ext cx="7596481" cy="739992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n-US" sz="1600" b="1" dirty="0" smtClean="0"/>
              <a:t>E</a:t>
            </a:r>
            <a:r>
              <a:rPr lang="el-GR" sz="1600" b="1" dirty="0" smtClean="0"/>
              <a:t>ιδικές διατάξεις ως προς την ανάπτυξη τραπεζοκαθισμάτων και την προσφορά γευμάτων από υπηρεσίες τύπου </a:t>
            </a:r>
            <a:r>
              <a:rPr lang="el-GR" sz="1600" b="1" dirty="0" err="1" smtClean="0"/>
              <a:t>catering</a:t>
            </a:r>
            <a:r>
              <a:rPr lang="en-US" sz="1600" b="1" dirty="0" smtClean="0"/>
              <a:t> </a:t>
            </a:r>
            <a:r>
              <a:rPr lang="el-GR" sz="1600" b="1" dirty="0" smtClean="0"/>
              <a:t>και για τη λειτουργία των εστιατορίων</a:t>
            </a:r>
            <a:r>
              <a:rPr lang="en-US" sz="1600" b="1" dirty="0" smtClean="0"/>
              <a:t>.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2088107"/>
            <a:ext cx="1181056" cy="738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3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4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613165" y="2188772"/>
            <a:ext cx="1180886" cy="223310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92.0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.10.05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.10.08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843050" y="1739720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Ειδικές Απαιτήσεις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613165" y="1730055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851331" y="2211738"/>
            <a:ext cx="7588200" cy="21828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2000" dirty="0" smtClean="0"/>
          </a:p>
          <a:p>
            <a:pPr>
              <a:buFont typeface="Wingdings" pitchFamily="2" charset="2"/>
              <a:buChar char="q"/>
            </a:pPr>
            <a:r>
              <a:rPr lang="el-GR" sz="2000" dirty="0" smtClean="0"/>
              <a:t>Ο </a:t>
            </a:r>
            <a:r>
              <a:rPr lang="el-GR" sz="2000" b="1" dirty="0" smtClean="0"/>
              <a:t>μέγιστος επιτρεπόμενος αριθμός πελατών </a:t>
            </a:r>
            <a:r>
              <a:rPr lang="el-GR" sz="2000" dirty="0" smtClean="0"/>
              <a:t>ορίζεται ως ο αριθμός που προκύπτει από την αναλογία ενός πελάτη </a:t>
            </a:r>
            <a:r>
              <a:rPr lang="el-GR" sz="2000" b="1" dirty="0" smtClean="0"/>
              <a:t>ανά 2,20 </a:t>
            </a:r>
            <a:r>
              <a:rPr lang="el-GR" sz="2000" b="1" dirty="0" err="1" smtClean="0"/>
              <a:t>τ.μ</a:t>
            </a:r>
            <a:r>
              <a:rPr lang="el-GR" sz="2000" b="1" dirty="0" smtClean="0"/>
              <a:t>. συνολικής αδειοδοτούμενης επιφάνειας.</a:t>
            </a:r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2000" dirty="0" smtClean="0"/>
              <a:t>Ανάπτυξη </a:t>
            </a:r>
            <a:r>
              <a:rPr lang="el-GR" sz="2000" b="1" dirty="0" smtClean="0"/>
              <a:t>διαφανούς ή μη, </a:t>
            </a:r>
            <a:r>
              <a:rPr lang="el-GR" sz="2000" b="1" dirty="0" err="1" smtClean="0"/>
              <a:t>πετάσματος</a:t>
            </a:r>
            <a:r>
              <a:rPr lang="el-GR" sz="2000" b="1" dirty="0" smtClean="0"/>
              <a:t> </a:t>
            </a:r>
            <a:r>
              <a:rPr lang="el-GR" sz="2000" dirty="0" smtClean="0"/>
              <a:t>μεταξύ των θέσεων των παικτών.</a:t>
            </a:r>
          </a:p>
          <a:p>
            <a:pPr lvl="0">
              <a:buFont typeface="Wingdings" panose="05000000000000000000" pitchFamily="2" charset="2"/>
              <a:buChar char="q"/>
            </a:pPr>
            <a:endParaRPr lang="el-GR" sz="2000" b="1" dirty="0"/>
          </a:p>
        </p:txBody>
      </p:sp>
      <p:sp>
        <p:nvSpPr>
          <p:cNvPr id="13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υπηρεσιών τυχερών παιχνιδιών και </a:t>
            </a:r>
            <a:r>
              <a:rPr lang="el-GR" sz="2100" b="1" dirty="0" err="1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ίντερνετ</a:t>
            </a:r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καφέ. 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14" name="Group 11">
            <a:extLst>
              <a:ext uri="{FF2B5EF4-FFF2-40B4-BE49-F238E27FC236}">
                <a16:creationId xmlns:lc="http://schemas.openxmlformats.org/drawingml/2006/lockedCanvas" xmlns:a16="http://schemas.microsoft.com/office/drawing/2014/main" xmlns="" id="{BEB475D0-F17A-40B2-89F6-9EE7C1A3C7AA}"/>
              </a:ext>
            </a:extLst>
          </p:cNvPr>
          <p:cNvGrpSpPr>
            <a:grpSpLocks noChangeAspect="1"/>
          </p:cNvGrpSpPr>
          <p:nvPr/>
        </p:nvGrpSpPr>
        <p:grpSpPr>
          <a:xfrm>
            <a:off x="1909934" y="2428460"/>
            <a:ext cx="573656" cy="571500"/>
            <a:chOff x="4360863" y="776288"/>
            <a:chExt cx="422275" cy="420688"/>
          </a:xfrm>
          <a:solidFill>
            <a:schemeClr val="bg1"/>
          </a:solidFill>
        </p:grpSpPr>
        <p:sp>
          <p:nvSpPr>
            <p:cNvPr id="15" name="Freeform 21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6B89DB11-3797-4A9B-8A23-7F9362F71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0863" y="776288"/>
              <a:ext cx="422275" cy="420688"/>
            </a:xfrm>
            <a:custGeom>
              <a:avLst/>
              <a:gdLst>
                <a:gd name="T0" fmla="*/ 0 w 266"/>
                <a:gd name="T1" fmla="*/ 0 h 265"/>
                <a:gd name="T2" fmla="*/ 0 w 266"/>
                <a:gd name="T3" fmla="*/ 265 h 265"/>
                <a:gd name="T4" fmla="*/ 266 w 266"/>
                <a:gd name="T5" fmla="*/ 265 h 265"/>
                <a:gd name="T6" fmla="*/ 266 w 266"/>
                <a:gd name="T7" fmla="*/ 0 h 265"/>
                <a:gd name="T8" fmla="*/ 0 w 266"/>
                <a:gd name="T9" fmla="*/ 0 h 265"/>
                <a:gd name="T10" fmla="*/ 253 w 266"/>
                <a:gd name="T11" fmla="*/ 254 h 265"/>
                <a:gd name="T12" fmla="*/ 11 w 266"/>
                <a:gd name="T13" fmla="*/ 254 h 265"/>
                <a:gd name="T14" fmla="*/ 11 w 266"/>
                <a:gd name="T15" fmla="*/ 12 h 265"/>
                <a:gd name="T16" fmla="*/ 253 w 266"/>
                <a:gd name="T17" fmla="*/ 12 h 265"/>
                <a:gd name="T18" fmla="*/ 253 w 266"/>
                <a:gd name="T19" fmla="*/ 25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5">
                  <a:moveTo>
                    <a:pt x="0" y="0"/>
                  </a:moveTo>
                  <a:lnTo>
                    <a:pt x="0" y="265"/>
                  </a:lnTo>
                  <a:lnTo>
                    <a:pt x="266" y="265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3" y="254"/>
                  </a:moveTo>
                  <a:lnTo>
                    <a:pt x="11" y="254"/>
                  </a:lnTo>
                  <a:lnTo>
                    <a:pt x="11" y="12"/>
                  </a:lnTo>
                  <a:lnTo>
                    <a:pt x="253" y="12"/>
                  </a:lnTo>
                  <a:lnTo>
                    <a:pt x="253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6" name="Freeform 22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87A6FD33-EDFD-4301-A407-0EABB0D09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4200" y="857250"/>
              <a:ext cx="354013" cy="258763"/>
            </a:xfrm>
            <a:custGeom>
              <a:avLst/>
              <a:gdLst>
                <a:gd name="T0" fmla="*/ 210 w 223"/>
                <a:gd name="T1" fmla="*/ 130 h 163"/>
                <a:gd name="T2" fmla="*/ 210 w 223"/>
                <a:gd name="T3" fmla="*/ 0 h 163"/>
                <a:gd name="T4" fmla="*/ 144 w 223"/>
                <a:gd name="T5" fmla="*/ 0 h 163"/>
                <a:gd name="T6" fmla="*/ 144 w 223"/>
                <a:gd name="T7" fmla="*/ 12 h 163"/>
                <a:gd name="T8" fmla="*/ 199 w 223"/>
                <a:gd name="T9" fmla="*/ 12 h 163"/>
                <a:gd name="T10" fmla="*/ 199 w 223"/>
                <a:gd name="T11" fmla="*/ 130 h 163"/>
                <a:gd name="T12" fmla="*/ 23 w 223"/>
                <a:gd name="T13" fmla="*/ 130 h 163"/>
                <a:gd name="T14" fmla="*/ 23 w 223"/>
                <a:gd name="T15" fmla="*/ 12 h 163"/>
                <a:gd name="T16" fmla="*/ 84 w 223"/>
                <a:gd name="T17" fmla="*/ 12 h 163"/>
                <a:gd name="T18" fmla="*/ 84 w 223"/>
                <a:gd name="T19" fmla="*/ 0 h 163"/>
                <a:gd name="T20" fmla="*/ 12 w 223"/>
                <a:gd name="T21" fmla="*/ 0 h 163"/>
                <a:gd name="T22" fmla="*/ 12 w 223"/>
                <a:gd name="T23" fmla="*/ 130 h 163"/>
                <a:gd name="T24" fmla="*/ 0 w 223"/>
                <a:gd name="T25" fmla="*/ 130 h 163"/>
                <a:gd name="T26" fmla="*/ 0 w 223"/>
                <a:gd name="T27" fmla="*/ 163 h 163"/>
                <a:gd name="T28" fmla="*/ 223 w 223"/>
                <a:gd name="T29" fmla="*/ 163 h 163"/>
                <a:gd name="T30" fmla="*/ 223 w 223"/>
                <a:gd name="T31" fmla="*/ 130 h 163"/>
                <a:gd name="T32" fmla="*/ 210 w 223"/>
                <a:gd name="T33" fmla="*/ 130 h 163"/>
                <a:gd name="T34" fmla="*/ 211 w 223"/>
                <a:gd name="T35" fmla="*/ 152 h 163"/>
                <a:gd name="T36" fmla="*/ 11 w 223"/>
                <a:gd name="T37" fmla="*/ 152 h 163"/>
                <a:gd name="T38" fmla="*/ 11 w 223"/>
                <a:gd name="T39" fmla="*/ 142 h 163"/>
                <a:gd name="T40" fmla="*/ 211 w 223"/>
                <a:gd name="T41" fmla="*/ 142 h 163"/>
                <a:gd name="T42" fmla="*/ 211 w 223"/>
                <a:gd name="T43" fmla="*/ 15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3" h="163">
                  <a:moveTo>
                    <a:pt x="210" y="130"/>
                  </a:moveTo>
                  <a:lnTo>
                    <a:pt x="21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99" y="12"/>
                  </a:lnTo>
                  <a:lnTo>
                    <a:pt x="199" y="130"/>
                  </a:lnTo>
                  <a:lnTo>
                    <a:pt x="23" y="130"/>
                  </a:lnTo>
                  <a:lnTo>
                    <a:pt x="23" y="12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2" y="0"/>
                  </a:lnTo>
                  <a:lnTo>
                    <a:pt x="12" y="130"/>
                  </a:lnTo>
                  <a:lnTo>
                    <a:pt x="0" y="130"/>
                  </a:lnTo>
                  <a:lnTo>
                    <a:pt x="0" y="163"/>
                  </a:lnTo>
                  <a:lnTo>
                    <a:pt x="223" y="163"/>
                  </a:lnTo>
                  <a:lnTo>
                    <a:pt x="223" y="130"/>
                  </a:lnTo>
                  <a:lnTo>
                    <a:pt x="210" y="130"/>
                  </a:lnTo>
                  <a:close/>
                  <a:moveTo>
                    <a:pt x="211" y="152"/>
                  </a:moveTo>
                  <a:lnTo>
                    <a:pt x="11" y="152"/>
                  </a:lnTo>
                  <a:lnTo>
                    <a:pt x="11" y="142"/>
                  </a:lnTo>
                  <a:lnTo>
                    <a:pt x="211" y="142"/>
                  </a:lnTo>
                  <a:lnTo>
                    <a:pt x="211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7" name="Freeform 24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D1B814B5-A367-41CF-95EF-5590A7E1C8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250" y="833438"/>
              <a:ext cx="66675" cy="106363"/>
            </a:xfrm>
            <a:custGeom>
              <a:avLst/>
              <a:gdLst>
                <a:gd name="T0" fmla="*/ 9 w 30"/>
                <a:gd name="T1" fmla="*/ 36 h 49"/>
                <a:gd name="T2" fmla="*/ 14 w 30"/>
                <a:gd name="T3" fmla="*/ 38 h 49"/>
                <a:gd name="T4" fmla="*/ 14 w 30"/>
                <a:gd name="T5" fmla="*/ 27 h 49"/>
                <a:gd name="T6" fmla="*/ 13 w 30"/>
                <a:gd name="T7" fmla="*/ 26 h 49"/>
                <a:gd name="T8" fmla="*/ 12 w 30"/>
                <a:gd name="T9" fmla="*/ 26 h 49"/>
                <a:gd name="T10" fmla="*/ 8 w 30"/>
                <a:gd name="T11" fmla="*/ 25 h 49"/>
                <a:gd name="T12" fmla="*/ 4 w 30"/>
                <a:gd name="T13" fmla="*/ 23 h 49"/>
                <a:gd name="T14" fmla="*/ 2 w 30"/>
                <a:gd name="T15" fmla="*/ 20 h 49"/>
                <a:gd name="T16" fmla="*/ 1 w 30"/>
                <a:gd name="T17" fmla="*/ 15 h 49"/>
                <a:gd name="T18" fmla="*/ 2 w 30"/>
                <a:gd name="T19" fmla="*/ 11 h 49"/>
                <a:gd name="T20" fmla="*/ 5 w 30"/>
                <a:gd name="T21" fmla="*/ 7 h 49"/>
                <a:gd name="T22" fmla="*/ 9 w 30"/>
                <a:gd name="T23" fmla="*/ 5 h 49"/>
                <a:gd name="T24" fmla="*/ 14 w 30"/>
                <a:gd name="T25" fmla="*/ 4 h 49"/>
                <a:gd name="T26" fmla="*/ 14 w 30"/>
                <a:gd name="T27" fmla="*/ 0 h 49"/>
                <a:gd name="T28" fmla="*/ 17 w 30"/>
                <a:gd name="T29" fmla="*/ 0 h 49"/>
                <a:gd name="T30" fmla="*/ 17 w 30"/>
                <a:gd name="T31" fmla="*/ 4 h 49"/>
                <a:gd name="T32" fmla="*/ 21 w 30"/>
                <a:gd name="T33" fmla="*/ 5 h 49"/>
                <a:gd name="T34" fmla="*/ 25 w 30"/>
                <a:gd name="T35" fmla="*/ 7 h 49"/>
                <a:gd name="T36" fmla="*/ 28 w 30"/>
                <a:gd name="T37" fmla="*/ 11 h 49"/>
                <a:gd name="T38" fmla="*/ 29 w 30"/>
                <a:gd name="T39" fmla="*/ 15 h 49"/>
                <a:gd name="T40" fmla="*/ 21 w 30"/>
                <a:gd name="T41" fmla="*/ 15 h 49"/>
                <a:gd name="T42" fmla="*/ 20 w 30"/>
                <a:gd name="T43" fmla="*/ 12 h 49"/>
                <a:gd name="T44" fmla="*/ 17 w 30"/>
                <a:gd name="T45" fmla="*/ 10 h 49"/>
                <a:gd name="T46" fmla="*/ 17 w 30"/>
                <a:gd name="T47" fmla="*/ 20 h 49"/>
                <a:gd name="T48" fmla="*/ 18 w 30"/>
                <a:gd name="T49" fmla="*/ 20 h 49"/>
                <a:gd name="T50" fmla="*/ 19 w 30"/>
                <a:gd name="T51" fmla="*/ 20 h 49"/>
                <a:gd name="T52" fmla="*/ 26 w 30"/>
                <a:gd name="T53" fmla="*/ 23 h 49"/>
                <a:gd name="T54" fmla="*/ 29 w 30"/>
                <a:gd name="T55" fmla="*/ 26 h 49"/>
                <a:gd name="T56" fmla="*/ 30 w 30"/>
                <a:gd name="T57" fmla="*/ 30 h 49"/>
                <a:gd name="T58" fmla="*/ 30 w 30"/>
                <a:gd name="T59" fmla="*/ 33 h 49"/>
                <a:gd name="T60" fmla="*/ 30 w 30"/>
                <a:gd name="T61" fmla="*/ 36 h 49"/>
                <a:gd name="T62" fmla="*/ 27 w 30"/>
                <a:gd name="T63" fmla="*/ 39 h 49"/>
                <a:gd name="T64" fmla="*/ 23 w 30"/>
                <a:gd name="T65" fmla="*/ 42 h 49"/>
                <a:gd name="T66" fmla="*/ 17 w 30"/>
                <a:gd name="T67" fmla="*/ 44 h 49"/>
                <a:gd name="T68" fmla="*/ 17 w 30"/>
                <a:gd name="T69" fmla="*/ 49 h 49"/>
                <a:gd name="T70" fmla="*/ 14 w 30"/>
                <a:gd name="T71" fmla="*/ 49 h 49"/>
                <a:gd name="T72" fmla="*/ 14 w 30"/>
                <a:gd name="T73" fmla="*/ 44 h 49"/>
                <a:gd name="T74" fmla="*/ 4 w 30"/>
                <a:gd name="T75" fmla="*/ 40 h 49"/>
                <a:gd name="T76" fmla="*/ 0 w 30"/>
                <a:gd name="T77" fmla="*/ 31 h 49"/>
                <a:gd name="T78" fmla="*/ 8 w 30"/>
                <a:gd name="T79" fmla="*/ 31 h 49"/>
                <a:gd name="T80" fmla="*/ 9 w 30"/>
                <a:gd name="T81" fmla="*/ 36 h 49"/>
                <a:gd name="T82" fmla="*/ 12 w 30"/>
                <a:gd name="T83" fmla="*/ 11 h 49"/>
                <a:gd name="T84" fmla="*/ 10 w 30"/>
                <a:gd name="T85" fmla="*/ 11 h 49"/>
                <a:gd name="T86" fmla="*/ 9 w 30"/>
                <a:gd name="T87" fmla="*/ 13 h 49"/>
                <a:gd name="T88" fmla="*/ 9 w 30"/>
                <a:gd name="T89" fmla="*/ 15 h 49"/>
                <a:gd name="T90" fmla="*/ 10 w 30"/>
                <a:gd name="T91" fmla="*/ 17 h 49"/>
                <a:gd name="T92" fmla="*/ 14 w 30"/>
                <a:gd name="T93" fmla="*/ 19 h 49"/>
                <a:gd name="T94" fmla="*/ 14 w 30"/>
                <a:gd name="T95" fmla="*/ 10 h 49"/>
                <a:gd name="T96" fmla="*/ 12 w 30"/>
                <a:gd name="T97" fmla="*/ 11 h 49"/>
                <a:gd name="T98" fmla="*/ 19 w 30"/>
                <a:gd name="T99" fmla="*/ 37 h 49"/>
                <a:gd name="T100" fmla="*/ 21 w 30"/>
                <a:gd name="T101" fmla="*/ 36 h 49"/>
                <a:gd name="T102" fmla="*/ 22 w 30"/>
                <a:gd name="T103" fmla="*/ 35 h 49"/>
                <a:gd name="T104" fmla="*/ 23 w 30"/>
                <a:gd name="T105" fmla="*/ 33 h 49"/>
                <a:gd name="T106" fmla="*/ 21 w 30"/>
                <a:gd name="T107" fmla="*/ 29 h 49"/>
                <a:gd name="T108" fmla="*/ 17 w 30"/>
                <a:gd name="T109" fmla="*/ 28 h 49"/>
                <a:gd name="T110" fmla="*/ 17 w 30"/>
                <a:gd name="T111" fmla="*/ 38 h 49"/>
                <a:gd name="T112" fmla="*/ 19 w 30"/>
                <a:gd name="T113" fmla="*/ 3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" h="49">
                  <a:moveTo>
                    <a:pt x="9" y="36"/>
                  </a:moveTo>
                  <a:cubicBezTo>
                    <a:pt x="11" y="37"/>
                    <a:pt x="12" y="38"/>
                    <a:pt x="14" y="38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1" y="26"/>
                    <a:pt x="9" y="25"/>
                    <a:pt x="8" y="25"/>
                  </a:cubicBezTo>
                  <a:cubicBezTo>
                    <a:pt x="7" y="24"/>
                    <a:pt x="5" y="24"/>
                    <a:pt x="4" y="23"/>
                  </a:cubicBezTo>
                  <a:cubicBezTo>
                    <a:pt x="3" y="22"/>
                    <a:pt x="3" y="21"/>
                    <a:pt x="2" y="20"/>
                  </a:cubicBezTo>
                  <a:cubicBezTo>
                    <a:pt x="1" y="19"/>
                    <a:pt x="1" y="17"/>
                    <a:pt x="1" y="15"/>
                  </a:cubicBezTo>
                  <a:cubicBezTo>
                    <a:pt x="1" y="14"/>
                    <a:pt x="1" y="12"/>
                    <a:pt x="2" y="11"/>
                  </a:cubicBezTo>
                  <a:cubicBezTo>
                    <a:pt x="3" y="9"/>
                    <a:pt x="4" y="8"/>
                    <a:pt x="5" y="7"/>
                  </a:cubicBezTo>
                  <a:cubicBezTo>
                    <a:pt x="6" y="6"/>
                    <a:pt x="7" y="5"/>
                    <a:pt x="9" y="5"/>
                  </a:cubicBezTo>
                  <a:cubicBezTo>
                    <a:pt x="10" y="4"/>
                    <a:pt x="12" y="4"/>
                    <a:pt x="14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20" y="5"/>
                    <a:pt x="21" y="5"/>
                  </a:cubicBezTo>
                  <a:cubicBezTo>
                    <a:pt x="23" y="6"/>
                    <a:pt x="24" y="6"/>
                    <a:pt x="25" y="7"/>
                  </a:cubicBezTo>
                  <a:cubicBezTo>
                    <a:pt x="26" y="8"/>
                    <a:pt x="27" y="9"/>
                    <a:pt x="28" y="11"/>
                  </a:cubicBezTo>
                  <a:cubicBezTo>
                    <a:pt x="28" y="12"/>
                    <a:pt x="29" y="14"/>
                    <a:pt x="29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3"/>
                    <a:pt x="20" y="12"/>
                  </a:cubicBezTo>
                  <a:cubicBezTo>
                    <a:pt x="19" y="11"/>
                    <a:pt x="18" y="10"/>
                    <a:pt x="17" y="1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9" y="20"/>
                    <a:pt x="19" y="20"/>
                  </a:cubicBezTo>
                  <a:cubicBezTo>
                    <a:pt x="22" y="21"/>
                    <a:pt x="24" y="22"/>
                    <a:pt x="26" y="23"/>
                  </a:cubicBezTo>
                  <a:cubicBezTo>
                    <a:pt x="27" y="24"/>
                    <a:pt x="28" y="25"/>
                    <a:pt x="29" y="26"/>
                  </a:cubicBezTo>
                  <a:cubicBezTo>
                    <a:pt x="29" y="28"/>
                    <a:pt x="30" y="29"/>
                    <a:pt x="30" y="30"/>
                  </a:cubicBezTo>
                  <a:cubicBezTo>
                    <a:pt x="30" y="31"/>
                    <a:pt x="30" y="32"/>
                    <a:pt x="30" y="33"/>
                  </a:cubicBezTo>
                  <a:cubicBezTo>
                    <a:pt x="30" y="34"/>
                    <a:pt x="30" y="35"/>
                    <a:pt x="30" y="36"/>
                  </a:cubicBezTo>
                  <a:cubicBezTo>
                    <a:pt x="29" y="37"/>
                    <a:pt x="28" y="38"/>
                    <a:pt x="27" y="39"/>
                  </a:cubicBezTo>
                  <a:cubicBezTo>
                    <a:pt x="26" y="41"/>
                    <a:pt x="25" y="42"/>
                    <a:pt x="23" y="42"/>
                  </a:cubicBezTo>
                  <a:cubicBezTo>
                    <a:pt x="22" y="43"/>
                    <a:pt x="19" y="44"/>
                    <a:pt x="17" y="44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0" y="44"/>
                    <a:pt x="6" y="43"/>
                    <a:pt x="4" y="40"/>
                  </a:cubicBezTo>
                  <a:cubicBezTo>
                    <a:pt x="2" y="38"/>
                    <a:pt x="1" y="35"/>
                    <a:pt x="0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3"/>
                    <a:pt x="8" y="34"/>
                    <a:pt x="9" y="36"/>
                  </a:cubicBezTo>
                  <a:close/>
                  <a:moveTo>
                    <a:pt x="12" y="11"/>
                  </a:moveTo>
                  <a:cubicBezTo>
                    <a:pt x="11" y="11"/>
                    <a:pt x="11" y="11"/>
                    <a:pt x="10" y="11"/>
                  </a:cubicBezTo>
                  <a:cubicBezTo>
                    <a:pt x="10" y="12"/>
                    <a:pt x="9" y="12"/>
                    <a:pt x="9" y="13"/>
                  </a:cubicBezTo>
                  <a:cubicBezTo>
                    <a:pt x="9" y="13"/>
                    <a:pt x="9" y="14"/>
                    <a:pt x="9" y="15"/>
                  </a:cubicBezTo>
                  <a:cubicBezTo>
                    <a:pt x="9" y="16"/>
                    <a:pt x="9" y="17"/>
                    <a:pt x="10" y="17"/>
                  </a:cubicBezTo>
                  <a:cubicBezTo>
                    <a:pt x="11" y="18"/>
                    <a:pt x="12" y="19"/>
                    <a:pt x="14" y="19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2" y="10"/>
                    <a:pt x="12" y="11"/>
                  </a:cubicBezTo>
                  <a:close/>
                  <a:moveTo>
                    <a:pt x="19" y="37"/>
                  </a:moveTo>
                  <a:cubicBezTo>
                    <a:pt x="19" y="37"/>
                    <a:pt x="20" y="37"/>
                    <a:pt x="21" y="36"/>
                  </a:cubicBezTo>
                  <a:cubicBezTo>
                    <a:pt x="21" y="36"/>
                    <a:pt x="22" y="35"/>
                    <a:pt x="22" y="35"/>
                  </a:cubicBezTo>
                  <a:cubicBezTo>
                    <a:pt x="22" y="34"/>
                    <a:pt x="23" y="33"/>
                    <a:pt x="23" y="33"/>
                  </a:cubicBezTo>
                  <a:cubicBezTo>
                    <a:pt x="23" y="31"/>
                    <a:pt x="22" y="30"/>
                    <a:pt x="21" y="29"/>
                  </a:cubicBezTo>
                  <a:cubicBezTo>
                    <a:pt x="20" y="29"/>
                    <a:pt x="19" y="28"/>
                    <a:pt x="17" y="2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8" y="38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TextBox"/>
          <p:cNvSpPr txBox="1"/>
          <p:nvPr/>
        </p:nvSpPr>
        <p:spPr>
          <a:xfrm>
            <a:off x="426128" y="1527153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solidFill>
                  <a:srgbClr val="002060"/>
                </a:solidFill>
              </a:rPr>
              <a:t>Επάνοδος στην Εργασία: </a:t>
            </a:r>
            <a:r>
              <a:rPr lang="el-GR" sz="2000" dirty="0">
                <a:solidFill>
                  <a:srgbClr val="002060"/>
                </a:solidFill>
              </a:rPr>
              <a:t>Απασχολούμενοι &amp; </a:t>
            </a:r>
            <a:r>
              <a:rPr lang="el-GR" sz="2000" dirty="0" smtClean="0">
                <a:solidFill>
                  <a:srgbClr val="002060"/>
                </a:solidFill>
              </a:rPr>
              <a:t>Εμπορικές Επιχειρήσεις</a:t>
            </a:r>
            <a:endParaRPr lang="el-GR" sz="2000" dirty="0">
              <a:solidFill>
                <a:srgbClr val="002060"/>
              </a:solidFill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="" xmlns:p14="http://schemas.microsoft.com/office/powerpoint/2010/main" val="314719267"/>
              </p:ext>
            </p:extLst>
          </p:nvPr>
        </p:nvGraphicFramePr>
        <p:xfrm>
          <a:off x="267639" y="2088108"/>
          <a:ext cx="6584400" cy="42637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6 - Διάγραμμα"/>
          <p:cNvGraphicFramePr/>
          <p:nvPr>
            <p:extLst>
              <p:ext uri="{D42A27DB-BD31-4B8C-83A1-F6EECF244321}">
                <p14:modId xmlns="" xmlns:p14="http://schemas.microsoft.com/office/powerpoint/2010/main" val="2037475133"/>
              </p:ext>
            </p:extLst>
          </p:nvPr>
        </p:nvGraphicFramePr>
        <p:xfrm>
          <a:off x="4949070" y="2074461"/>
          <a:ext cx="6583288" cy="42637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ectangle: Diagonal Corners Snipped 7">
            <a:extLst>
              <a:ext uri="{FF2B5EF4-FFF2-40B4-BE49-F238E27FC236}">
                <a16:creationId xmlns="" xmlns:a16="http://schemas.microsoft.com/office/drawing/2014/main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6</a:t>
            </a:r>
            <a:r>
              <a:rPr lang="el-GR" sz="2400" b="1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&amp; 7</a:t>
            </a:r>
            <a:r>
              <a:rPr lang="el-GR" sz="2400" b="1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– Από </a:t>
            </a:r>
            <a:r>
              <a:rPr lang="en-US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6 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ουνίου</a:t>
            </a:r>
            <a:r>
              <a:rPr lang="en-US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έως 1 Ιουλίου</a:t>
            </a:r>
            <a:endParaRPr lang="el-GR" sz="24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311B5C4D-30F4-4776-9029-DEE9F22A057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Rectangle: Diagonal Corners Snipped 7">
            <a:extLst>
              <a:ext uri="{FF2B5EF4-FFF2-40B4-BE49-F238E27FC236}">
                <a16:creationId xmlns="" xmlns:a16="http://schemas.microsoft.com/office/drawing/2014/main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GB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="1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n-GB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– 7</a:t>
            </a:r>
            <a:r>
              <a:rPr lang="el-GR" sz="2400" b="1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</a:t>
            </a:r>
            <a:endParaRPr lang="el-GR" sz="24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="" xmlns:p14="http://schemas.microsoft.com/office/powerpoint/2010/main" val="2919614736"/>
              </p:ext>
            </p:extLst>
          </p:nvPr>
        </p:nvGraphicFramePr>
        <p:xfrm>
          <a:off x="426275" y="2183640"/>
          <a:ext cx="10573820" cy="1615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- Ορθογώνιο"/>
          <p:cNvSpPr/>
          <p:nvPr/>
        </p:nvSpPr>
        <p:spPr>
          <a:xfrm>
            <a:off x="1767323" y="6071012"/>
            <a:ext cx="5554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2) Εμπορικές επιχειρήσεις που επαναλειτουργούν</a:t>
            </a:r>
          </a:p>
        </p:txBody>
      </p:sp>
      <p:sp>
        <p:nvSpPr>
          <p:cNvPr id="13" name="12 - Ορθογώνιο"/>
          <p:cNvSpPr/>
          <p:nvPr/>
        </p:nvSpPr>
        <p:spPr>
          <a:xfrm>
            <a:off x="1980484" y="1667496"/>
            <a:ext cx="18691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</a:t>
            </a:r>
            <a:r>
              <a:rPr lang="el-GR" sz="2000" b="1" baseline="30000" dirty="0" smtClean="0">
                <a:solidFill>
                  <a:schemeClr val="accent4">
                    <a:lumMod val="50000"/>
                  </a:schemeClr>
                </a:solidFill>
              </a:rPr>
              <a:t>ο</a:t>
            </a:r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 – 5</a:t>
            </a:r>
            <a:r>
              <a:rPr lang="el-GR" sz="2000" b="1" baseline="30000" dirty="0" smtClean="0">
                <a:solidFill>
                  <a:schemeClr val="accent4">
                    <a:lumMod val="50000"/>
                  </a:schemeClr>
                </a:solidFill>
              </a:rPr>
              <a:t>ο</a:t>
            </a:r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 Στάδιο ]</a:t>
            </a:r>
          </a:p>
        </p:txBody>
      </p:sp>
      <p:sp>
        <p:nvSpPr>
          <p:cNvPr id="17" name="16 - Ορθογώνιο"/>
          <p:cNvSpPr/>
          <p:nvPr/>
        </p:nvSpPr>
        <p:spPr>
          <a:xfrm>
            <a:off x="1837627" y="3916692"/>
            <a:ext cx="57452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1) Απασχολούμενοι που επιστρέφουν στην εργασία</a:t>
            </a:r>
          </a:p>
        </p:txBody>
      </p:sp>
      <p:sp>
        <p:nvSpPr>
          <p:cNvPr id="18" name="17 - Ορθογώνιο"/>
          <p:cNvSpPr/>
          <p:nvPr/>
        </p:nvSpPr>
        <p:spPr>
          <a:xfrm>
            <a:off x="7932582" y="1664379"/>
            <a:ext cx="11290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Σύνολο]</a:t>
            </a:r>
          </a:p>
        </p:txBody>
      </p:sp>
      <p:graphicFrame>
        <p:nvGraphicFramePr>
          <p:cNvPr id="21" name="5 - Διάγραμμα"/>
          <p:cNvGraphicFramePr/>
          <p:nvPr>
            <p:extLst>
              <p:ext uri="{D42A27DB-BD31-4B8C-83A1-F6EECF244321}">
                <p14:modId xmlns="" xmlns:p14="http://schemas.microsoft.com/office/powerpoint/2010/main" val="2869786675"/>
              </p:ext>
            </p:extLst>
          </p:nvPr>
        </p:nvGraphicFramePr>
        <p:xfrm>
          <a:off x="725447" y="4417587"/>
          <a:ext cx="10051606" cy="15671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15 - Ορθογώνιο"/>
          <p:cNvSpPr/>
          <p:nvPr/>
        </p:nvSpPr>
        <p:spPr>
          <a:xfrm>
            <a:off x="4944332" y="1656121"/>
            <a:ext cx="19075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6</a:t>
            </a:r>
            <a:r>
              <a:rPr lang="el-GR" sz="2000" b="1" baseline="30000" dirty="0" smtClean="0">
                <a:solidFill>
                  <a:schemeClr val="accent4">
                    <a:lumMod val="50000"/>
                  </a:schemeClr>
                </a:solidFill>
              </a:rPr>
              <a:t>ο</a:t>
            </a:r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 – 7</a:t>
            </a:r>
            <a:r>
              <a:rPr lang="el-GR" sz="2000" b="1" baseline="30000" dirty="0" smtClean="0">
                <a:solidFill>
                  <a:schemeClr val="accent4">
                    <a:lumMod val="50000"/>
                  </a:schemeClr>
                </a:solidFill>
              </a:rPr>
              <a:t>ο </a:t>
            </a:r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 Στάδιο ]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952FDA8-F037-45C5-824B-D1A4836EA0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5535" name="think-cell Slide" r:id="rId3" imgW="360" imgH="360" progId="">
              <p:embed/>
            </p:oleObj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xmlns="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-726524" y="5368689"/>
            <a:ext cx="7442169" cy="1184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Υπουργείο</a:t>
            </a: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Ανάπτυξης και Επεν</a:t>
            </a:r>
            <a:r>
              <a:rPr lang="el-GR" sz="2800" dirty="0" smtClean="0">
                <a:solidFill>
                  <a:schemeClr val="bg2">
                    <a:lumMod val="2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δύσεων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936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8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78150" y="352693"/>
            <a:ext cx="10373248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επαναλειτουργούν στις 06/06</a:t>
            </a:r>
            <a:endParaRPr lang="el-GR" sz="24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15" name="14 - Ομάδα"/>
          <p:cNvGrpSpPr/>
          <p:nvPr/>
        </p:nvGrpSpPr>
        <p:grpSpPr>
          <a:xfrm>
            <a:off x="3110062" y="1296534"/>
            <a:ext cx="5965699" cy="4353635"/>
            <a:chOff x="3570616" y="1712910"/>
            <a:chExt cx="4448833" cy="3496910"/>
          </a:xfrm>
        </p:grpSpPr>
        <p:sp>
          <p:nvSpPr>
            <p:cNvPr id="4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6019" y="2415533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56.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10. 11.02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59790" y="2425458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εστιατορίου μέσα σε ξενοδοχείο ύπνου. </a:t>
              </a:r>
              <a:endParaRPr lang="en-GB" b="1" kern="0" dirty="0">
                <a:solidFill>
                  <a:srgbClr val="FF0000"/>
                </a:solidFill>
                <a:cs typeface="Arial"/>
              </a:endParaRPr>
            </a:p>
          </p:txBody>
        </p:sp>
        <p:sp>
          <p:nvSpPr>
            <p:cNvPr id="8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55434" y="3137464"/>
              <a:ext cx="3658245" cy="63838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αροχής γευμάτων και ποτών από κυλικείο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9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1664" y="3127538"/>
              <a:ext cx="695153" cy="63838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5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6.10. 19.04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0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70616" y="3837857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10. 19.09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1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44386" y="3836821"/>
              <a:ext cx="3658246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αροχής γευμάτων και ποτών σε υπαίθριες εκδηλώσεις, όχι από κινητές καντίνες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6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3581048" y="4560858"/>
              <a:ext cx="695153" cy="63838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03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7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4353234" y="4571436"/>
              <a:ext cx="3658245" cy="63838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αναψυκτήριο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30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61205" y="1722834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Επιτρέπεται η εστίαση σε εσωτερικούς χώρους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31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4039" y="1712910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chemeClr val="bg1"/>
                </a:buClr>
                <a:buSzPts val="1800"/>
                <a:buFont typeface="Wingdings" pitchFamily="2" charset="2"/>
                <a:buChar char="ü"/>
              </a:pP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33" name="32 - TextBox"/>
            <p:cNvSpPr txBox="1"/>
            <p:nvPr/>
          </p:nvSpPr>
          <p:spPr>
            <a:xfrm>
              <a:off x="3810832" y="1902575"/>
              <a:ext cx="356260" cy="296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b="1" dirty="0" smtClean="0">
                  <a:solidFill>
                    <a:schemeClr val="bg1"/>
                  </a:solidFill>
                  <a:latin typeface="Century Gothic"/>
                </a:rPr>
                <a:t>√</a:t>
              </a:r>
              <a:endParaRPr lang="el-GR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3123282" y="5744336"/>
            <a:ext cx="935822" cy="82569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9</a:t>
            </a:r>
            <a:r>
              <a:rPr lang="el-GR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0</a:t>
            </a:r>
            <a:r>
              <a:rPr lang="en-US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.</a:t>
            </a:r>
            <a:r>
              <a:rPr lang="el-GR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02</a:t>
            </a:r>
            <a:endParaRPr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9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4137347" y="5759350"/>
            <a:ext cx="4924767" cy="8256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b="1" kern="0" dirty="0" smtClean="0">
                <a:cs typeface="Arial"/>
              </a:rPr>
              <a:t>Υποστηρικτικές δραστηριότητες για τις τέχνες του θεάματος. </a:t>
            </a:r>
            <a:endParaRPr lang="en-GB" b="1" kern="0" dirty="0">
              <a:cs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587082" y="270807"/>
            <a:ext cx="10658674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επαναλειτουργούν στις 08/06</a:t>
            </a:r>
            <a:endParaRPr lang="el-GR" sz="24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26" name="25 - Ομάδα"/>
          <p:cNvGrpSpPr/>
          <p:nvPr/>
        </p:nvGrpSpPr>
        <p:grpSpPr>
          <a:xfrm>
            <a:off x="768635" y="1269242"/>
            <a:ext cx="10326994" cy="5349672"/>
            <a:chOff x="1109829" y="1510973"/>
            <a:chExt cx="9335586" cy="4188136"/>
          </a:xfrm>
        </p:grpSpPr>
        <p:sp>
          <p:nvSpPr>
            <p:cNvPr id="6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6003433" y="3631857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2.00. 12.01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6777956" y="3641782"/>
              <a:ext cx="3658246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εκμετάλλευσης ηλεκτρονικών παιχνιδιών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8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6012648" y="4343900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2.00. 12.02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6787169" y="4355756"/>
              <a:ext cx="3658246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εκμετάλλευσης μηχανημάτων τυχερών παιχνιδιών (με κερματοδέκτη). 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0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6005633" y="2917851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2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.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00. 12.00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1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6779404" y="2927776"/>
              <a:ext cx="3658245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τυχερών παιχνιδιών με μηχανήματα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2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1127444" y="1512564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01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3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1888519" y="1510973"/>
              <a:ext cx="3658245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μπαρ, που παρέχονται από  χορευτικό κέντρο. 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4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1109829" y="2222644"/>
              <a:ext cx="695152" cy="63838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02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5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1892193" y="2234158"/>
              <a:ext cx="3658245" cy="63838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άλλα καταστήματα πώλησης ποτών με διάθεση πρόσβασης στο διαδίκτυο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6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1118867" y="2938202"/>
              <a:ext cx="695153" cy="63838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05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7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1901231" y="2948778"/>
              <a:ext cx="3658245" cy="63838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καφενείο, με τεχνικά ή μηχανικά παιχνίδια</a:t>
              </a:r>
              <a:r>
                <a:rPr lang="en-US" b="1" kern="0" dirty="0" smtClean="0">
                  <a:cs typeface="Arial"/>
                </a:rPr>
                <a:t>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18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1127112" y="3660246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56.30. 10.09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9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1900883" y="3673297"/>
              <a:ext cx="3658245" cy="61701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κέντρο διασκέδασης – καμπαρέ ή </a:t>
              </a:r>
              <a:r>
                <a:rPr lang="el-GR" b="1" kern="0" dirty="0" err="1" smtClean="0">
                  <a:cs typeface="Arial"/>
                </a:rPr>
                <a:t>νάιτ</a:t>
              </a:r>
              <a:r>
                <a:rPr lang="el-GR" b="1" kern="0" dirty="0" smtClean="0">
                  <a:cs typeface="Arial"/>
                </a:rPr>
                <a:t> κλαμπ. </a:t>
              </a:r>
              <a:endParaRPr lang="el-GR" b="1" kern="0" dirty="0">
                <a:cs typeface="Arial"/>
              </a:endParaRPr>
            </a:p>
          </p:txBody>
        </p:sp>
        <p:sp>
          <p:nvSpPr>
            <p:cNvPr id="20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1148883" y="4361287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56.30. 10.08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1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1922654" y="4374338"/>
              <a:ext cx="3658245" cy="61701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καφετέρια με διάθεση πρόσβασης στο διαδίκτυο (</a:t>
              </a:r>
              <a:r>
                <a:rPr lang="el-GR" b="1" kern="0" dirty="0" err="1" smtClean="0">
                  <a:cs typeface="Arial"/>
                </a:rPr>
                <a:t>ιντερνετ</a:t>
              </a:r>
              <a:r>
                <a:rPr lang="el-GR" b="1" kern="0" dirty="0" smtClean="0">
                  <a:cs typeface="Arial"/>
                </a:rPr>
                <a:t> καφέ). </a:t>
              </a:r>
              <a:endParaRPr lang="el-GR" b="1" kern="0" dirty="0">
                <a:cs typeface="Arial"/>
              </a:endParaRPr>
            </a:p>
          </p:txBody>
        </p:sp>
        <p:sp>
          <p:nvSpPr>
            <p:cNvPr id="22" name="Google Shape;1808;p278">
              <a:extLst>
                <a:ext uri="{FF2B5EF4-FFF2-40B4-BE49-F238E27FC236}">
                  <a16:creationId xmlns:a16="http://schemas.microsoft.com/office/drawing/2014/main" xmlns="" id="{379E9271-DD92-41E5-9C71-D92AECDCDBF7}"/>
                </a:ext>
              </a:extLst>
            </p:cNvPr>
            <p:cNvSpPr txBox="1"/>
            <p:nvPr/>
          </p:nvSpPr>
          <p:spPr>
            <a:xfrm>
              <a:off x="5971550" y="1518004"/>
              <a:ext cx="695152" cy="638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11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3" name="Rectangle 40">
              <a:extLst>
                <a:ext uri="{FF2B5EF4-FFF2-40B4-BE49-F238E27FC236}">
                  <a16:creationId xmlns:a16="http://schemas.microsoft.com/office/drawing/2014/main" xmlns="" id="{82383D07-BF75-4934-8D6E-4F1406A30126}"/>
                </a:ext>
              </a:extLst>
            </p:cNvPr>
            <p:cNvSpPr/>
            <p:nvPr/>
          </p:nvSpPr>
          <p:spPr>
            <a:xfrm>
              <a:off x="6733560" y="1518005"/>
              <a:ext cx="3658244" cy="63839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κέντρο διασκέδασης - μπουάτ. </a:t>
              </a:r>
              <a:endParaRPr lang="el-GR" b="1" kern="0" dirty="0">
                <a:cs typeface="Arial"/>
              </a:endParaRPr>
            </a:p>
          </p:txBody>
        </p:sp>
        <p:sp>
          <p:nvSpPr>
            <p:cNvPr id="24" name="Google Shape;1808;p278">
              <a:extLst>
                <a:ext uri="{FF2B5EF4-FFF2-40B4-BE49-F238E27FC236}">
                  <a16:creationId xmlns:a16="http://schemas.microsoft.com/office/drawing/2014/main" xmlns="" id="{379E9271-DD92-41E5-9C71-D92AECDCDBF7}"/>
                </a:ext>
              </a:extLst>
            </p:cNvPr>
            <p:cNvSpPr txBox="1"/>
            <p:nvPr/>
          </p:nvSpPr>
          <p:spPr>
            <a:xfrm>
              <a:off x="1143000" y="5060725"/>
              <a:ext cx="695153" cy="63838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30. 10.10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5" name="Rectangle 40">
              <a:extLst>
                <a:ext uri="{FF2B5EF4-FFF2-40B4-BE49-F238E27FC236}">
                  <a16:creationId xmlns:a16="http://schemas.microsoft.com/office/drawing/2014/main" xmlns="" id="{82383D07-BF75-4934-8D6E-4F1406A30126}"/>
                </a:ext>
              </a:extLst>
            </p:cNvPr>
            <p:cNvSpPr/>
            <p:nvPr/>
          </p:nvSpPr>
          <p:spPr>
            <a:xfrm>
              <a:off x="1916771" y="5060725"/>
              <a:ext cx="3658244" cy="63838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κέντρο διασκέδασης - καφωδείο. </a:t>
              </a:r>
              <a:endParaRPr lang="el-GR" b="1" kern="0" dirty="0">
                <a:cs typeface="Arial"/>
              </a:endParaRPr>
            </a:p>
          </p:txBody>
        </p:sp>
      </p:grpSp>
      <p:sp>
        <p:nvSpPr>
          <p:cNvPr id="29" name="Google Shape;1808;p278">
            <a:extLst>
              <a:ext uri="{FF2B5EF4-FFF2-40B4-BE49-F238E27FC236}">
                <a16:creationId xmlns:a16="http://schemas.microsoft.com/office/drawing/2014/main" xmlns="" id="{46036423-307D-4FA0-9CBA-85F8E02009A7}"/>
              </a:ext>
            </a:extLst>
          </p:cNvPr>
          <p:cNvSpPr txBox="1"/>
          <p:nvPr/>
        </p:nvSpPr>
        <p:spPr>
          <a:xfrm>
            <a:off x="6177680" y="5796921"/>
            <a:ext cx="768976" cy="81543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</a:t>
            </a:r>
            <a:r>
              <a:rPr lang="el-GR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94.99. 16.02</a:t>
            </a:r>
            <a:r>
              <a:rPr lang="en-US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)</a:t>
            </a:r>
            <a:endParaRPr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0" name="Rectangle 50">
            <a:extLst>
              <a:ext uri="{FF2B5EF4-FFF2-40B4-BE49-F238E27FC236}">
                <a16:creationId xmlns:a16="http://schemas.microsoft.com/office/drawing/2014/main" xmlns="" id="{1D60B30E-B6EA-4BA1-88C3-6997C3CA1118}"/>
              </a:ext>
            </a:extLst>
          </p:cNvPr>
          <p:cNvSpPr/>
          <p:nvPr/>
        </p:nvSpPr>
        <p:spPr>
          <a:xfrm>
            <a:off x="7033623" y="5813592"/>
            <a:ext cx="4046738" cy="7881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b="1" kern="0" dirty="0" smtClean="0">
                <a:cs typeface="Arial"/>
              </a:rPr>
              <a:t>Υπηρεσίες ψυχαγωγικών μη αθλητικών λεσχών (χωρίς εκδηλώσεις). </a:t>
            </a:r>
            <a:endParaRPr lang="el-GR" b="1" kern="0" dirty="0">
              <a:cs typeface="Arial"/>
            </a:endParaRPr>
          </a:p>
        </p:txBody>
      </p:sp>
      <p:sp>
        <p:nvSpPr>
          <p:cNvPr id="27" name="Google Shape;1808;p278">
            <a:extLst>
              <a:ext uri="{FF2B5EF4-FFF2-40B4-BE49-F238E27FC236}">
                <a16:creationId xmlns:a16="http://schemas.microsoft.com/office/drawing/2014/main" xmlns="" id="{379E9271-DD92-41E5-9C71-D92AECDCDBF7}"/>
              </a:ext>
            </a:extLst>
          </p:cNvPr>
          <p:cNvSpPr txBox="1"/>
          <p:nvPr/>
        </p:nvSpPr>
        <p:spPr>
          <a:xfrm>
            <a:off x="6162577" y="2181250"/>
            <a:ext cx="768975" cy="81544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56.30. 10.12)</a:t>
            </a:r>
            <a:endParaRPr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Rectangle 40">
            <a:extLst>
              <a:ext uri="{FF2B5EF4-FFF2-40B4-BE49-F238E27FC236}">
                <a16:creationId xmlns:a16="http://schemas.microsoft.com/office/drawing/2014/main" xmlns="" id="{82383D07-BF75-4934-8D6E-4F1406A30126}"/>
              </a:ext>
            </a:extLst>
          </p:cNvPr>
          <p:cNvSpPr/>
          <p:nvPr/>
        </p:nvSpPr>
        <p:spPr>
          <a:xfrm>
            <a:off x="7005510" y="2181251"/>
            <a:ext cx="4046737" cy="8154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b="1" kern="0" dirty="0" smtClean="0">
                <a:cs typeface="Arial"/>
              </a:rPr>
              <a:t>Υπηρεσίες που παρέχονται από κέντρο διασκέδασης - ντισκοτέκ. </a:t>
            </a:r>
            <a:endParaRPr lang="el-GR" b="1" kern="0" dirty="0"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8610600" y="6424592"/>
            <a:ext cx="2743200" cy="365125"/>
          </a:xfrm>
        </p:spPr>
        <p:txBody>
          <a:bodyPr/>
          <a:lstStyle/>
          <a:p>
            <a:fld id="{51543827-C2B0-46E7-89AA-B56A23F9ACD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0" y="216215"/>
            <a:ext cx="10726913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επαναλειτουργούν στις 15/06</a:t>
            </a:r>
            <a:endParaRPr lang="el-GR" sz="24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39" name="38 - Ομάδα"/>
          <p:cNvGrpSpPr/>
          <p:nvPr/>
        </p:nvGrpSpPr>
        <p:grpSpPr>
          <a:xfrm>
            <a:off x="839841" y="1214649"/>
            <a:ext cx="10141830" cy="5281685"/>
            <a:chOff x="812545" y="1214649"/>
            <a:chExt cx="10141830" cy="5281685"/>
          </a:xfrm>
        </p:grpSpPr>
        <p:grpSp>
          <p:nvGrpSpPr>
            <p:cNvPr id="30" name="29 - Ομάδα"/>
            <p:cNvGrpSpPr/>
            <p:nvPr/>
          </p:nvGrpSpPr>
          <p:grpSpPr>
            <a:xfrm>
              <a:off x="812545" y="1214649"/>
              <a:ext cx="10105664" cy="5281685"/>
              <a:chOff x="907790" y="1532147"/>
              <a:chExt cx="9597304" cy="5089583"/>
            </a:xfrm>
          </p:grpSpPr>
          <p:grpSp>
            <p:nvGrpSpPr>
              <p:cNvPr id="28" name="27 - Ομάδα"/>
              <p:cNvGrpSpPr/>
              <p:nvPr/>
            </p:nvGrpSpPr>
            <p:grpSpPr>
              <a:xfrm>
                <a:off x="907790" y="1532147"/>
                <a:ext cx="9597304" cy="5089583"/>
                <a:chOff x="1221471" y="1323499"/>
                <a:chExt cx="9111922" cy="4956897"/>
              </a:xfrm>
            </p:grpSpPr>
            <p:sp>
              <p:nvSpPr>
                <p:cNvPr id="4" name="Google Shape;1808;p278">
                  <a:extLst>
                    <a:ext uri="{FF2B5EF4-FFF2-40B4-BE49-F238E27FC236}">
                      <a16:creationId xmlns:a16="http://schemas.microsoft.com/office/drawing/2014/main" xmlns="" id="{379E9271-DD92-41E5-9C71-D92AECDCDBF7}"/>
                    </a:ext>
                  </a:extLst>
                </p:cNvPr>
                <p:cNvSpPr txBox="1"/>
                <p:nvPr/>
              </p:nvSpPr>
              <p:spPr>
                <a:xfrm>
                  <a:off x="1221471" y="1323500"/>
                  <a:ext cx="695153" cy="638383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55.20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5" name="Rectangle 40">
                  <a:extLst>
                    <a:ext uri="{FF2B5EF4-FFF2-40B4-BE49-F238E27FC236}">
                      <a16:creationId xmlns:a16="http://schemas.microsoft.com/office/drawing/2014/main" xmlns="" id="{82383D07-BF75-4934-8D6E-4F1406A30126}"/>
                    </a:ext>
                  </a:extLst>
                </p:cNvPr>
                <p:cNvSpPr/>
                <p:nvPr/>
              </p:nvSpPr>
              <p:spPr>
                <a:xfrm>
                  <a:off x="1995242" y="1323499"/>
                  <a:ext cx="3658244" cy="638383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Καταλύματα διακοπών και άλλα καταλύματα σύντομης διαμονής και εποχικής λειτουργίας.</a:t>
                  </a:r>
                  <a:endParaRPr lang="el-GR" sz="1600" b="1" kern="0" dirty="0">
                    <a:cs typeface="Arial"/>
                  </a:endParaRPr>
                </a:p>
              </p:txBody>
            </p:sp>
            <p:sp>
              <p:nvSpPr>
                <p:cNvPr id="8" name="Google Shape;1808;p278">
                  <a:extLst>
                    <a:ext uri="{FF2B5EF4-FFF2-40B4-BE49-F238E27FC236}">
                      <a16:creationId xmlns:a16="http://schemas.microsoft.com/office/drawing/2014/main" xmlns="" id="{3493D784-8477-41F8-856B-049DD1393DA6}"/>
                    </a:ext>
                  </a:extLst>
                </p:cNvPr>
                <p:cNvSpPr txBox="1"/>
                <p:nvPr/>
              </p:nvSpPr>
              <p:spPr>
                <a:xfrm>
                  <a:off x="1245181" y="2031160"/>
                  <a:ext cx="695153" cy="638385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(88.10.  13.00)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9" name="Rectangle 48">
                  <a:extLst>
                    <a:ext uri="{FF2B5EF4-FFF2-40B4-BE49-F238E27FC236}">
                      <a16:creationId xmlns:a16="http://schemas.microsoft.com/office/drawing/2014/main" xmlns="" id="{A22C8E7A-8C3A-48FB-B8F3-C24997084432}"/>
                    </a:ext>
                  </a:extLst>
                </p:cNvPr>
                <p:cNvSpPr/>
                <p:nvPr/>
              </p:nvSpPr>
              <p:spPr>
                <a:xfrm>
                  <a:off x="2018953" y="2041085"/>
                  <a:ext cx="3658245" cy="638385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dirty="0" smtClean="0"/>
                    <a:t>Υπηρεσίες επαγγελματικής αποκατάστασης για άτομα με αναπηρίες.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10" name="Google Shape;1808;p278">
                  <a:extLst>
                    <a:ext uri="{FF2B5EF4-FFF2-40B4-BE49-F238E27FC236}">
                      <a16:creationId xmlns:a16="http://schemas.microsoft.com/office/drawing/2014/main" xmlns="" id="{3493D784-8477-41F8-856B-049DD1393DA6}"/>
                    </a:ext>
                  </a:extLst>
                </p:cNvPr>
                <p:cNvSpPr txBox="1"/>
                <p:nvPr/>
              </p:nvSpPr>
              <p:spPr>
                <a:xfrm>
                  <a:off x="1253965" y="2742033"/>
                  <a:ext cx="695153" cy="638383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(88.10. 14.00)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11" name="Rectangle 48">
                  <a:extLst>
                    <a:ext uri="{FF2B5EF4-FFF2-40B4-BE49-F238E27FC236}">
                      <a16:creationId xmlns:a16="http://schemas.microsoft.com/office/drawing/2014/main" xmlns="" id="{A22C8E7A-8C3A-48FB-B8F3-C24997084432}"/>
                    </a:ext>
                  </a:extLst>
                </p:cNvPr>
                <p:cNvSpPr/>
                <p:nvPr/>
              </p:nvSpPr>
              <p:spPr>
                <a:xfrm>
                  <a:off x="2027735" y="2751958"/>
                  <a:ext cx="3658247" cy="638383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endParaRPr lang="en-GB" sz="1600" b="1" kern="0" dirty="0" smtClean="0">
                    <a:cs typeface="Arial"/>
                  </a:endParaRPr>
                </a:p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Υπηρεσίες επίσκεψης και παροχής υποστήριξης για άτομα με αναπηρίες. </a:t>
                  </a:r>
                </a:p>
                <a:p>
                  <a:pPr>
                    <a:buClr>
                      <a:srgbClr val="000000"/>
                    </a:buClr>
                    <a:buSzPts val="1200"/>
                  </a:pP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12" name="Google Shape;1808;p278">
                  <a:extLst>
                    <a:ext uri="{FF2B5EF4-FFF2-40B4-BE49-F238E27FC236}">
                      <a16:creationId xmlns:a16="http://schemas.microsoft.com/office/drawing/2014/main" xmlns="" id="{1586ECF9-0E13-4CCD-9A18-2CF210BF183B}"/>
                    </a:ext>
                  </a:extLst>
                </p:cNvPr>
                <p:cNvSpPr txBox="1"/>
                <p:nvPr/>
              </p:nvSpPr>
              <p:spPr>
                <a:xfrm>
                  <a:off x="1264010" y="4176241"/>
                  <a:ext cx="695152" cy="638385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</a:pPr>
                  <a:r>
                    <a:rPr lang="en-US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91.03</a:t>
                  </a:r>
                  <a:endParaRPr lang="el-GR"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13" name="Rectangle 52">
                  <a:extLst>
                    <a:ext uri="{FF2B5EF4-FFF2-40B4-BE49-F238E27FC236}">
                      <a16:creationId xmlns:a16="http://schemas.microsoft.com/office/drawing/2014/main" xmlns="" id="{15E735E2-1571-48E6-A181-B49883AB8200}"/>
                    </a:ext>
                  </a:extLst>
                </p:cNvPr>
                <p:cNvSpPr/>
                <p:nvPr/>
              </p:nvSpPr>
              <p:spPr>
                <a:xfrm>
                  <a:off x="2032926" y="4187755"/>
                  <a:ext cx="3658245" cy="638384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Λειτουργία ιστορικών χώρων και κτιρίων και παρόμοιων πόλων έλξης επισκεπτών.  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14" name="Google Shape;1808;p278">
                  <a:extLst>
                    <a:ext uri="{FF2B5EF4-FFF2-40B4-BE49-F238E27FC236}">
                      <a16:creationId xmlns:a16="http://schemas.microsoft.com/office/drawing/2014/main" xmlns="" id="{3493D784-8477-41F8-856B-049DD1393DA6}"/>
                    </a:ext>
                  </a:extLst>
                </p:cNvPr>
                <p:cNvSpPr txBox="1"/>
                <p:nvPr/>
              </p:nvSpPr>
              <p:spPr>
                <a:xfrm>
                  <a:off x="1260784" y="3468828"/>
                  <a:ext cx="695153" cy="638382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91.02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15" name="Rectangle 48">
                  <a:extLst>
                    <a:ext uri="{FF2B5EF4-FFF2-40B4-BE49-F238E27FC236}">
                      <a16:creationId xmlns:a16="http://schemas.microsoft.com/office/drawing/2014/main" xmlns="" id="{A22C8E7A-8C3A-48FB-B8F3-C24997084432}"/>
                    </a:ext>
                  </a:extLst>
                </p:cNvPr>
                <p:cNvSpPr/>
                <p:nvPr/>
              </p:nvSpPr>
              <p:spPr>
                <a:xfrm>
                  <a:off x="2021859" y="3480685"/>
                  <a:ext cx="3658245" cy="638382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Δραστηριότητες μουσείων. 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16" name="Google Shape;1808;p278">
                  <a:extLst>
                    <a:ext uri="{FF2B5EF4-FFF2-40B4-BE49-F238E27FC236}">
                      <a16:creationId xmlns:a16="http://schemas.microsoft.com/office/drawing/2014/main" xmlns="" id="{3493D784-8477-41F8-856B-049DD1393DA6}"/>
                    </a:ext>
                  </a:extLst>
                </p:cNvPr>
                <p:cNvSpPr txBox="1"/>
                <p:nvPr/>
              </p:nvSpPr>
              <p:spPr>
                <a:xfrm>
                  <a:off x="1278837" y="4919715"/>
                  <a:ext cx="695153" cy="638382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93.13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17" name="Rectangle 48">
                  <a:extLst>
                    <a:ext uri="{FF2B5EF4-FFF2-40B4-BE49-F238E27FC236}">
                      <a16:creationId xmlns:a16="http://schemas.microsoft.com/office/drawing/2014/main" xmlns="" id="{A22C8E7A-8C3A-48FB-B8F3-C24997084432}"/>
                    </a:ext>
                  </a:extLst>
                </p:cNvPr>
                <p:cNvSpPr/>
                <p:nvPr/>
              </p:nvSpPr>
              <p:spPr>
                <a:xfrm>
                  <a:off x="2053357" y="4918124"/>
                  <a:ext cx="3658246" cy="638382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Εγκαταστάσεις γυμναστικής</a:t>
                  </a:r>
                  <a:r>
                    <a:rPr lang="en-US" sz="1600" b="1" kern="0" dirty="0" smtClean="0">
                      <a:cs typeface="Arial"/>
                    </a:rPr>
                    <a:t>.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19" name="Rectangle 52">
                  <a:extLst>
                    <a:ext uri="{FF2B5EF4-FFF2-40B4-BE49-F238E27FC236}">
                      <a16:creationId xmlns:a16="http://schemas.microsoft.com/office/drawing/2014/main" xmlns="" id="{15E735E2-1571-48E6-A181-B49883AB8200}"/>
                    </a:ext>
                  </a:extLst>
                </p:cNvPr>
                <p:cNvSpPr/>
                <p:nvPr/>
              </p:nvSpPr>
              <p:spPr>
                <a:xfrm>
                  <a:off x="6675148" y="1333156"/>
                  <a:ext cx="3658245" cy="638119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Οι υπόλοιπες δραστηριότητες διασκέδασης και ψυχαγωγίας</a:t>
                  </a:r>
                  <a:r>
                    <a:rPr lang="en-US" sz="1600" b="1" kern="0" dirty="0" smtClean="0">
                      <a:cs typeface="Arial"/>
                    </a:rPr>
                    <a:t>.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22" name="Google Shape;1808;p278">
                  <a:extLst>
                    <a:ext uri="{FF2B5EF4-FFF2-40B4-BE49-F238E27FC236}">
                      <a16:creationId xmlns:a16="http://schemas.microsoft.com/office/drawing/2014/main" xmlns="" id="{1586ECF9-0E13-4CCD-9A18-2CF210BF183B}"/>
                    </a:ext>
                  </a:extLst>
                </p:cNvPr>
                <p:cNvSpPr txBox="1"/>
                <p:nvPr/>
              </p:nvSpPr>
              <p:spPr>
                <a:xfrm>
                  <a:off x="1275518" y="5631434"/>
                  <a:ext cx="695153" cy="638384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93.21</a:t>
                  </a:r>
                  <a:endParaRPr lang="el-GR"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23" name="Rectangle 52">
                  <a:extLst>
                    <a:ext uri="{FF2B5EF4-FFF2-40B4-BE49-F238E27FC236}">
                      <a16:creationId xmlns:a16="http://schemas.microsoft.com/office/drawing/2014/main" xmlns="" id="{15E735E2-1571-48E6-A181-B49883AB8200}"/>
                    </a:ext>
                  </a:extLst>
                </p:cNvPr>
                <p:cNvSpPr/>
                <p:nvPr/>
              </p:nvSpPr>
              <p:spPr>
                <a:xfrm>
                  <a:off x="2057882" y="5642012"/>
                  <a:ext cx="3658245" cy="638384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Δραστηριότητες πάρκων αναψυχής και άλλων θεματικών πάρκων. </a:t>
                  </a:r>
                  <a:endParaRPr lang="en-GB" sz="1600" b="1" kern="0" dirty="0">
                    <a:cs typeface="Arial"/>
                  </a:endParaRPr>
                </a:p>
              </p:txBody>
            </p:sp>
            <p:sp>
              <p:nvSpPr>
                <p:cNvPr id="24" name="Google Shape;1808;p278">
                  <a:extLst>
                    <a:ext uri="{FF2B5EF4-FFF2-40B4-BE49-F238E27FC236}">
                      <a16:creationId xmlns:a16="http://schemas.microsoft.com/office/drawing/2014/main" xmlns="" id="{3493D784-8477-41F8-856B-049DD1393DA6}"/>
                    </a:ext>
                  </a:extLst>
                </p:cNvPr>
                <p:cNvSpPr txBox="1"/>
                <p:nvPr/>
              </p:nvSpPr>
              <p:spPr>
                <a:xfrm>
                  <a:off x="5901695" y="2038209"/>
                  <a:ext cx="695153" cy="638382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36000" tIns="80669" rIns="36000" bIns="80669" anchor="ctr" anchorCtr="0">
                  <a:noAutofit/>
                </a:bodyPr>
                <a:lstStyle/>
                <a:p>
                  <a:pPr algn="ctr"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r>
                    <a:rPr lang="el-GR" sz="1600" b="1" kern="0" dirty="0" smtClean="0">
                      <a:solidFill>
                        <a:schemeClr val="bg1"/>
                      </a:solidFill>
                      <a:ea typeface="Helvetica Neue"/>
                      <a:cs typeface="Helvetica Neue"/>
                      <a:sym typeface="Helvetica Neue"/>
                    </a:rPr>
                    <a:t>(96.04. 10.00)</a:t>
                  </a:r>
                  <a:endParaRPr sz="1600" b="1" kern="0" dirty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25" name="Rectangle 48">
                  <a:extLst>
                    <a:ext uri="{FF2B5EF4-FFF2-40B4-BE49-F238E27FC236}">
                      <a16:creationId xmlns:a16="http://schemas.microsoft.com/office/drawing/2014/main" xmlns="" id="{A22C8E7A-8C3A-48FB-B8F3-C24997084432}"/>
                    </a:ext>
                  </a:extLst>
                </p:cNvPr>
                <p:cNvSpPr/>
                <p:nvPr/>
              </p:nvSpPr>
              <p:spPr>
                <a:xfrm>
                  <a:off x="6662770" y="2049426"/>
                  <a:ext cx="3658245" cy="638382"/>
                </a:xfrm>
                <a:prstGeom prst="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txBody>
                <a:bodyPr spcFirstLastPara="1" wrap="square" lIns="80669" tIns="40324" rIns="80669" bIns="40324" anchor="ctr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200"/>
                  </a:pPr>
                  <a:r>
                    <a:rPr lang="el-GR" sz="1600" b="1" kern="0" dirty="0" smtClean="0">
                      <a:cs typeface="Arial"/>
                    </a:rPr>
                    <a:t>Υπηρεσίες σωματικής ευεξίας (</a:t>
                  </a:r>
                  <a:r>
                    <a:rPr lang="el-GR" sz="1600" b="1" kern="0" dirty="0" err="1" smtClean="0">
                      <a:cs typeface="Arial"/>
                    </a:rPr>
                    <a:t>πιλάτες</a:t>
                  </a:r>
                  <a:r>
                    <a:rPr lang="el-GR" sz="1600" b="1" kern="0" dirty="0" smtClean="0">
                      <a:cs typeface="Arial"/>
                    </a:rPr>
                    <a:t> κλπ). </a:t>
                  </a:r>
                  <a:endParaRPr lang="en-GB" sz="1600" b="1" kern="0" dirty="0">
                    <a:cs typeface="Arial"/>
                  </a:endParaRPr>
                </a:p>
              </p:txBody>
            </p:sp>
          </p:grpSp>
          <p:sp>
            <p:nvSpPr>
              <p:cNvPr id="29" name="Google Shape;1808;p278">
                <a:extLst>
                  <a:ext uri="{FF2B5EF4-FFF2-40B4-BE49-F238E27FC236}">
                    <a16:creationId xmlns:a16="http://schemas.microsoft.com/office/drawing/2014/main" xmlns="" id="{1586ECF9-0E13-4CCD-9A18-2CF210BF183B}"/>
                  </a:ext>
                </a:extLst>
              </p:cNvPr>
              <p:cNvSpPr txBox="1"/>
              <p:nvPr/>
            </p:nvSpPr>
            <p:spPr>
              <a:xfrm>
                <a:off x="5837687" y="1533185"/>
                <a:ext cx="732183" cy="655472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80669" rIns="36000" bIns="80669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800"/>
                </a:pPr>
                <a:r>
                  <a:rPr lang="el-GR" sz="1600" b="1" kern="0" dirty="0" smtClean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rPr>
                  <a:t>93.2</a:t>
                </a:r>
                <a:r>
                  <a:rPr lang="en-US" sz="1600" b="1" kern="0" dirty="0" smtClean="0">
                    <a:solidFill>
                      <a:schemeClr val="bg1"/>
                    </a:solidFill>
                    <a:ea typeface="Helvetica Neue"/>
                    <a:cs typeface="Helvetica Neue"/>
                    <a:sym typeface="Helvetica Neue"/>
                  </a:rPr>
                  <a:t>9</a:t>
                </a:r>
                <a:endParaRPr lang="el-GR" sz="1600" b="1" kern="0" dirty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endParaRPr>
              </a:p>
            </p:txBody>
          </p:sp>
        </p:grpSp>
        <p:sp>
          <p:nvSpPr>
            <p:cNvPr id="31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6000336" y="2745182"/>
              <a:ext cx="770966" cy="68021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sz="1600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4.   10.03)</a:t>
              </a:r>
              <a:endParaRPr sz="1600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32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6858493" y="2758817"/>
              <a:ext cx="4057212" cy="65744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600" b="1" kern="0" dirty="0" smtClean="0">
                  <a:cs typeface="Arial"/>
                </a:rPr>
                <a:t>Υπηρεσίες εκμετάλλευσης λουτρών (καθαριότητας, χαμάμ κλπ). </a:t>
              </a:r>
              <a:endParaRPr lang="el-GR" sz="1600" b="1" kern="0" dirty="0">
                <a:cs typeface="Arial"/>
              </a:endParaRPr>
            </a:p>
          </p:txBody>
        </p:sp>
        <p:sp>
          <p:nvSpPr>
            <p:cNvPr id="33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6039006" y="5035729"/>
              <a:ext cx="770966" cy="68021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sz="1600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9. 19.12)</a:t>
              </a:r>
              <a:endParaRPr sz="1600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34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6897163" y="5049364"/>
              <a:ext cx="4057212" cy="65744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600" b="1" kern="0" dirty="0" smtClean="0">
                  <a:cs typeface="Arial"/>
                </a:rPr>
                <a:t>Υπηρεσίες </a:t>
              </a:r>
              <a:r>
                <a:rPr lang="el-GR" sz="1600" b="1" kern="0" dirty="0" err="1" smtClean="0">
                  <a:cs typeface="Arial"/>
                </a:rPr>
                <a:t>ιερόδουλων</a:t>
              </a:r>
              <a:r>
                <a:rPr lang="el-GR" sz="1600" b="1" kern="0" dirty="0" smtClean="0">
                  <a:cs typeface="Arial"/>
                </a:rPr>
                <a:t>. </a:t>
              </a:r>
              <a:endParaRPr lang="el-GR" sz="1600" b="1" kern="0" dirty="0">
                <a:cs typeface="Arial"/>
              </a:endParaRPr>
            </a:p>
          </p:txBody>
        </p:sp>
        <p:sp>
          <p:nvSpPr>
            <p:cNvPr id="35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6002610" y="3511731"/>
              <a:ext cx="770966" cy="68021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sz="1600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4.   10.04)</a:t>
              </a:r>
              <a:endParaRPr sz="1600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36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6860767" y="3525366"/>
              <a:ext cx="4057212" cy="65744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600" b="1" kern="0" dirty="0" smtClean="0">
                  <a:cs typeface="Arial"/>
                </a:rPr>
                <a:t>Υπηρεσίες θεραπευτικών λουτρών και ιαματικών πηγών. </a:t>
              </a:r>
              <a:endParaRPr lang="el-GR" sz="1600" b="1" kern="0" dirty="0">
                <a:cs typeface="Arial"/>
              </a:endParaRPr>
            </a:p>
          </p:txBody>
        </p:sp>
        <p:sp>
          <p:nvSpPr>
            <p:cNvPr id="37" name="Google Shape;1808;p278">
              <a:extLst>
                <a:ext uri="{FF2B5EF4-FFF2-40B4-BE49-F238E27FC236}">
                  <a16:creationId xmlns:a16="http://schemas.microsoft.com/office/drawing/2014/main" xmlns="" id="{46036423-307D-4FA0-9CBA-85F8E02009A7}"/>
                </a:ext>
              </a:extLst>
            </p:cNvPr>
            <p:cNvSpPr txBox="1"/>
            <p:nvPr/>
          </p:nvSpPr>
          <p:spPr>
            <a:xfrm>
              <a:off x="6032180" y="4264632"/>
              <a:ext cx="770966" cy="68021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sz="1600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4.   10.07)</a:t>
              </a:r>
              <a:endParaRPr sz="1600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38" name="Rectangle 50">
              <a:extLst>
                <a:ext uri="{FF2B5EF4-FFF2-40B4-BE49-F238E27FC236}">
                  <a16:creationId xmlns:a16="http://schemas.microsoft.com/office/drawing/2014/main" xmlns="" id="{1D60B30E-B6EA-4BA1-88C3-6997C3CA1118}"/>
                </a:ext>
              </a:extLst>
            </p:cNvPr>
            <p:cNvSpPr/>
            <p:nvPr/>
          </p:nvSpPr>
          <p:spPr>
            <a:xfrm>
              <a:off x="6890337" y="4278267"/>
              <a:ext cx="4057212" cy="65744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600" b="1" kern="0" dirty="0" smtClean="0">
                  <a:cs typeface="Arial"/>
                </a:rPr>
                <a:t>Υπηρεσίες σάουνας, </a:t>
              </a:r>
              <a:r>
                <a:rPr lang="en-US" sz="1600" b="1" kern="0" dirty="0" smtClean="0">
                  <a:cs typeface="Arial"/>
                </a:rPr>
                <a:t>spa (</a:t>
              </a:r>
              <a:r>
                <a:rPr lang="el-GR" sz="1600" b="1" kern="0" dirty="0" smtClean="0">
                  <a:cs typeface="Arial"/>
                </a:rPr>
                <a:t>όχι θεραπευτικού) και ατμόλουτρων. </a:t>
              </a:r>
              <a:endParaRPr lang="el-GR" sz="1600" b="1" kern="0" dirty="0">
                <a:cs typeface="Arial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1" y="352695"/>
            <a:ext cx="10373248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επαναλειτουργούν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ις 29/06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6" name="5 - Ομάδα"/>
          <p:cNvGrpSpPr/>
          <p:nvPr/>
        </p:nvGrpSpPr>
        <p:grpSpPr>
          <a:xfrm>
            <a:off x="2579003" y="2347415"/>
            <a:ext cx="6524053" cy="1209857"/>
            <a:chOff x="2428878" y="2918881"/>
            <a:chExt cx="4432015" cy="638391"/>
          </a:xfrm>
        </p:grpSpPr>
        <p:sp>
          <p:nvSpPr>
            <p:cNvPr id="4" name="Google Shape;1808;p278">
              <a:extLst>
                <a:ext uri="{FF2B5EF4-FFF2-40B4-BE49-F238E27FC236}">
                  <a16:creationId xmlns:a16="http://schemas.microsoft.com/office/drawing/2014/main" xmlns="" id="{379E9271-DD92-41E5-9C71-D92AECDCDBF7}"/>
                </a:ext>
              </a:extLst>
            </p:cNvPr>
            <p:cNvSpPr txBox="1"/>
            <p:nvPr/>
          </p:nvSpPr>
          <p:spPr>
            <a:xfrm>
              <a:off x="2428878" y="2918881"/>
              <a:ext cx="695152" cy="63839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55</a:t>
              </a:r>
              <a:r>
                <a:rPr lang="en-US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.</a:t>
              </a: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30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" name="Rectangle 40">
              <a:extLst>
                <a:ext uri="{FF2B5EF4-FFF2-40B4-BE49-F238E27FC236}">
                  <a16:creationId xmlns:a16="http://schemas.microsoft.com/office/drawing/2014/main" xmlns="" id="{82383D07-BF75-4934-8D6E-4F1406A30126}"/>
                </a:ext>
              </a:extLst>
            </p:cNvPr>
            <p:cNvSpPr/>
            <p:nvPr/>
          </p:nvSpPr>
          <p:spPr>
            <a:xfrm>
              <a:off x="3202649" y="2918881"/>
              <a:ext cx="3658244" cy="63839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Χώροι κατασκήνωσης, που φιλοξενούν παιδιά.</a:t>
              </a:r>
              <a:endParaRPr lang="el-GR" b="1" kern="0" dirty="0">
                <a:solidFill>
                  <a:srgbClr val="FF0000"/>
                </a:solidFill>
                <a:cs typeface="Arial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1" y="379991"/>
            <a:ext cx="10373248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επαναλειτουργούν στις 01/07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10" name="9 - Ομάδα"/>
          <p:cNvGrpSpPr/>
          <p:nvPr/>
        </p:nvGrpSpPr>
        <p:grpSpPr>
          <a:xfrm>
            <a:off x="2976109" y="3025761"/>
            <a:ext cx="5731163" cy="2064855"/>
            <a:chOff x="1310413" y="2156982"/>
            <a:chExt cx="4432767" cy="1364869"/>
          </a:xfrm>
        </p:grpSpPr>
        <p:sp>
          <p:nvSpPr>
            <p:cNvPr id="4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1310413" y="2156982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0.04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2084935" y="2157886"/>
              <a:ext cx="3658245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dirty="0" smtClean="0"/>
                <a:t>Πραγματοποίηση οποιασδήποτε παράστασης με παρουσία κοινού (συναυλίας και καλλιτεχνικής εκδήλωσης).</a:t>
              </a:r>
              <a:endParaRPr lang="en-GB" b="1" kern="0" dirty="0">
                <a:solidFill>
                  <a:srgbClr val="FF0000"/>
                </a:solidFill>
                <a:cs typeface="Arial"/>
              </a:endParaRPr>
            </a:p>
          </p:txBody>
        </p:sp>
        <p:sp>
          <p:nvSpPr>
            <p:cNvPr id="8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1317003" y="2873544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4.99. 16.01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2078079" y="2883469"/>
              <a:ext cx="3658246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λιτιστικών συλλόγων και σωματείων.</a:t>
              </a:r>
              <a:endParaRPr lang="en-GB" b="1" kern="0" dirty="0">
                <a:cs typeface="Arial"/>
              </a:endParaRPr>
            </a:p>
          </p:txBody>
        </p:sp>
      </p:grp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xmlns="" id="{3493D784-8477-41F8-856B-049DD1393DA6}"/>
              </a:ext>
            </a:extLst>
          </p:cNvPr>
          <p:cNvSpPr txBox="1"/>
          <p:nvPr/>
        </p:nvSpPr>
        <p:spPr>
          <a:xfrm>
            <a:off x="2951088" y="1963510"/>
            <a:ext cx="898769" cy="96578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82.30</a:t>
            </a:r>
            <a:endParaRPr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Rectangle 48">
            <a:extLst>
              <a:ext uri="{FF2B5EF4-FFF2-40B4-BE49-F238E27FC236}">
                <a16:creationId xmlns:a16="http://schemas.microsoft.com/office/drawing/2014/main" xmlns="" id="{A22C8E7A-8C3A-48FB-B8F3-C24997084432}"/>
              </a:ext>
            </a:extLst>
          </p:cNvPr>
          <p:cNvSpPr/>
          <p:nvPr/>
        </p:nvSpPr>
        <p:spPr>
          <a:xfrm>
            <a:off x="3952474" y="1964878"/>
            <a:ext cx="4729777" cy="9657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b="1" kern="0" dirty="0" smtClean="0">
                <a:cs typeface="Arial"/>
              </a:rPr>
              <a:t>Οργάνωση συνεδρίων και εμπορικών  εκθέσεων.</a:t>
            </a:r>
            <a:endParaRPr lang="en-GB" b="1" kern="0" dirty="0"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Rectangle: Diagonal Corners Snipped 28">
            <a:extLst>
              <a:ext uri="{FF2B5EF4-FFF2-40B4-BE49-F238E27FC236}">
                <a16:creationId xmlns:a16="http://schemas.microsoft.com/office/drawing/2014/main" xmlns="" id="{93236C5A-8AF3-4879-9C8C-A20E70C6EF9C}"/>
              </a:ext>
            </a:extLst>
          </p:cNvPr>
          <p:cNvSpPr/>
          <p:nvPr/>
        </p:nvSpPr>
        <p:spPr>
          <a:xfrm>
            <a:off x="709911" y="379991"/>
            <a:ext cx="10373248" cy="825706"/>
          </a:xfrm>
          <a:prstGeom prst="snip2Diag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algn="ctr"/>
            <a:r>
              <a:rPr lang="el-GR" sz="24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Δραστηριότητες που δεν έχει προσδιοριστεί η επανεκκίνηση τους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5" name="4 - Ομάδα"/>
          <p:cNvGrpSpPr/>
          <p:nvPr/>
        </p:nvGrpSpPr>
        <p:grpSpPr>
          <a:xfrm>
            <a:off x="6265801" y="2442950"/>
            <a:ext cx="5020900" cy="1618633"/>
            <a:chOff x="3584039" y="1712910"/>
            <a:chExt cx="4455766" cy="1350931"/>
          </a:xfrm>
        </p:grpSpPr>
        <p:sp>
          <p:nvSpPr>
            <p:cNvPr id="6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6020" y="2415533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3.29.19.04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59790" y="2425458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dirty="0" smtClean="0"/>
                <a:t>Υπηρεσίες ντισκοτέκ (χωρίς προσφορά ποτού η φαγητού).</a:t>
              </a:r>
              <a:endParaRPr lang="en-GB" b="1" kern="0" dirty="0">
                <a:solidFill>
                  <a:srgbClr val="FF0000"/>
                </a:solidFill>
                <a:cs typeface="Arial"/>
              </a:endParaRPr>
            </a:p>
          </p:txBody>
        </p:sp>
        <p:sp>
          <p:nvSpPr>
            <p:cNvPr id="14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81561" y="1722834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 lvl="0" fontAlgn="base"/>
              <a:r>
                <a:rPr lang="el-GR" b="1" dirty="0" smtClean="0"/>
                <a:t>Υπηρεσίες χαρτοπαικτικής λέσχης.</a:t>
              </a:r>
              <a:endParaRPr lang="el-GR" b="1" dirty="0"/>
            </a:p>
          </p:txBody>
        </p:sp>
        <p:sp>
          <p:nvSpPr>
            <p:cNvPr id="15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4039" y="1712910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2.00.11.02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6" name="15 - TextBox"/>
            <p:cNvSpPr txBox="1"/>
            <p:nvPr/>
          </p:nvSpPr>
          <p:spPr>
            <a:xfrm>
              <a:off x="3749766" y="1847765"/>
              <a:ext cx="356260" cy="308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l-G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16 - Ομάδα"/>
          <p:cNvGrpSpPr/>
          <p:nvPr/>
        </p:nvGrpSpPr>
        <p:grpSpPr>
          <a:xfrm>
            <a:off x="955951" y="1569029"/>
            <a:ext cx="10258237" cy="3443066"/>
            <a:chOff x="3570616" y="1710712"/>
            <a:chExt cx="9204498" cy="2765527"/>
          </a:xfrm>
        </p:grpSpPr>
        <p:sp>
          <p:nvSpPr>
            <p:cNvPr id="18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6020" y="2415533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9.14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9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59790" y="2425458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dirty="0" smtClean="0"/>
                <a:t>Δραστηριότητες προβολής κινηματογραφικών ταινιών</a:t>
              </a:r>
              <a:r>
                <a:rPr lang="en-US" b="1" dirty="0" smtClean="0"/>
                <a:t> (</a:t>
              </a:r>
              <a:r>
                <a:rPr lang="el-GR" b="1" dirty="0" smtClean="0"/>
                <a:t>σε κλειστούς χώρους).</a:t>
              </a:r>
              <a:endParaRPr lang="en-GB" b="1" kern="0" dirty="0">
                <a:solidFill>
                  <a:srgbClr val="FF0000"/>
                </a:solidFill>
                <a:cs typeface="Arial"/>
              </a:endParaRPr>
            </a:p>
          </p:txBody>
        </p:sp>
        <p:sp>
          <p:nvSpPr>
            <p:cNvPr id="20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55434" y="3137464"/>
              <a:ext cx="3658245" cy="63838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dirty="0" smtClean="0"/>
                <a:t>Υπηρεσίες που παρέχονται από Κέντρα Ανοιχτής Προστασίας Ηλικιωμένων (ΚΑΠΗ)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21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1665" y="3127538"/>
              <a:ext cx="695153" cy="63838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88.10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2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70616" y="3837857"/>
              <a:ext cx="695153" cy="63838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2.00.11.00)</a:t>
              </a:r>
              <a:endParaRPr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3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44386" y="3836821"/>
              <a:ext cx="3658246" cy="63838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dirty="0" smtClean="0"/>
                <a:t>Υπηρεσίες τυχερών παιχνιδιών τραπεζιού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24" name="Google Shape;1808;p278">
              <a:extLst>
                <a:ext uri="{FF2B5EF4-FFF2-40B4-BE49-F238E27FC236}">
                  <a16:creationId xmlns:a16="http://schemas.microsoft.com/office/drawing/2014/main" xmlns="" id="{1586ECF9-0E13-4CCD-9A18-2CF210BF183B}"/>
                </a:ext>
              </a:extLst>
            </p:cNvPr>
            <p:cNvSpPr txBox="1"/>
            <p:nvPr/>
          </p:nvSpPr>
          <p:spPr>
            <a:xfrm>
              <a:off x="8344683" y="1710712"/>
              <a:ext cx="695153" cy="63838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2.00.11.01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5" name="Rectangle 52">
              <a:extLst>
                <a:ext uri="{FF2B5EF4-FFF2-40B4-BE49-F238E27FC236}">
                  <a16:creationId xmlns:a16="http://schemas.microsoft.com/office/drawing/2014/main" xmlns="" id="{15E735E2-1571-48E6-A181-B49883AB8200}"/>
                </a:ext>
              </a:extLst>
            </p:cNvPr>
            <p:cNvSpPr/>
            <p:nvPr/>
          </p:nvSpPr>
          <p:spPr>
            <a:xfrm>
              <a:off x="9116869" y="1721290"/>
              <a:ext cx="3658245" cy="63838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 lvl="0" fontAlgn="base"/>
              <a:r>
                <a:rPr lang="el-GR" b="1" dirty="0" smtClean="0"/>
                <a:t>Υπηρεσίες καζίνου.</a:t>
              </a:r>
              <a:endParaRPr lang="el-GR" b="1" dirty="0"/>
            </a:p>
          </p:txBody>
        </p:sp>
        <p:sp>
          <p:nvSpPr>
            <p:cNvPr id="26" name="Rectangle 48">
              <a:extLst>
                <a:ext uri="{FF2B5EF4-FFF2-40B4-BE49-F238E27FC236}">
                  <a16:creationId xmlns:a16="http://schemas.microsoft.com/office/drawing/2014/main" xmlns="" id="{A22C8E7A-8C3A-48FB-B8F3-C24997084432}"/>
                </a:ext>
              </a:extLst>
            </p:cNvPr>
            <p:cNvSpPr/>
            <p:nvPr/>
          </p:nvSpPr>
          <p:spPr>
            <a:xfrm>
              <a:off x="4381561" y="1722834"/>
              <a:ext cx="3658244" cy="63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b="1" kern="0" dirty="0" smtClean="0">
                  <a:cs typeface="Arial"/>
                </a:rPr>
                <a:t>Υπηρεσίες που παρέχονται από σχολικές καντίνες (κυλικεία).</a:t>
              </a:r>
              <a:endParaRPr lang="en-GB" b="1" kern="0" dirty="0">
                <a:cs typeface="Arial"/>
              </a:endParaRPr>
            </a:p>
          </p:txBody>
        </p:sp>
        <p:sp>
          <p:nvSpPr>
            <p:cNvPr id="27" name="Google Shape;1808;p278">
              <a:extLst>
                <a:ext uri="{FF2B5EF4-FFF2-40B4-BE49-F238E27FC236}">
                  <a16:creationId xmlns:a16="http://schemas.microsoft.com/office/drawing/2014/main" xmlns="" id="{3493D784-8477-41F8-856B-049DD1393DA6}"/>
                </a:ext>
              </a:extLst>
            </p:cNvPr>
            <p:cNvSpPr txBox="1"/>
            <p:nvPr/>
          </p:nvSpPr>
          <p:spPr>
            <a:xfrm>
              <a:off x="3584039" y="1712910"/>
              <a:ext cx="695153" cy="63838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56.29.20.04)</a:t>
              </a:r>
              <a:endParaRPr lang="el-GR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28" name="27 - TextBox"/>
            <p:cNvSpPr txBox="1"/>
            <p:nvPr/>
          </p:nvSpPr>
          <p:spPr>
            <a:xfrm>
              <a:off x="3749766" y="1847765"/>
              <a:ext cx="356260" cy="296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l-GR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αριθμού διαφάνειας 3"/>
          <p:cNvSpPr txBox="1">
            <a:spLocks/>
          </p:cNvSpPr>
          <p:nvPr/>
        </p:nvSpPr>
        <p:spPr>
          <a:xfrm>
            <a:off x="9984296" y="6492240"/>
            <a:ext cx="1764800" cy="13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233472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29509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στο εσωτερικό των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402011"/>
            <a:ext cx="1180886" cy="323451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92.0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7" y="4162563"/>
            <a:ext cx="7588200" cy="1461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spcBef>
                <a:spcPts val="300"/>
              </a:spcBef>
              <a:spcAft>
                <a:spcPts val="300"/>
              </a:spcAft>
              <a:buNone/>
            </a:pPr>
            <a:endParaRPr lang="el-GR" sz="20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endParaRPr lang="el-GR" sz="20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endParaRPr lang="en-US" sz="1800" dirty="0" smtClean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Σε όλους τους εσωτερικούς χώρους των καταστημάτων υγειονομικού ενδιαφέροντος με ΚΑΔ 56.30.10.09, 56.30.10.10 και 56.30.10.11</a:t>
            </a:r>
            <a:r>
              <a:rPr lang="el-GR" sz="1800" b="1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, απαγορεύεται η χρήση των μπαρ ως χώρος παραμονής των πελατών. </a:t>
            </a:r>
            <a:endParaRPr lang="el-GR" sz="1800" b="1" dirty="0" smtClean="0">
              <a:latin typeface="Arial" pitchFamily="34" charset="0"/>
              <a:cs typeface="Arial" pitchFamily="34" charset="0"/>
            </a:endParaRPr>
          </a:p>
          <a:p>
            <a:pPr marL="0" lvl="1" indent="0">
              <a:spcBef>
                <a:spcPts val="1200"/>
              </a:spcBef>
              <a:buNone/>
            </a:pPr>
            <a:endParaRPr lang="el-GR" sz="2000" b="1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565150" lvl="1" indent="0">
              <a:buNone/>
            </a:pPr>
            <a:endParaRPr lang="el-GR" sz="2000" b="1" dirty="0" smtClean="0"/>
          </a:p>
          <a:p>
            <a:pPr marL="565150" lvl="1" indent="0">
              <a:buNone/>
            </a:pPr>
            <a:endParaRPr lang="el-GR" sz="2000" b="1" dirty="0"/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1917138"/>
            <a:ext cx="7570191" cy="414890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Ειδικές Διατάξεις </a:t>
            </a:r>
            <a:r>
              <a:rPr lang="el-GR" sz="1600" b="1" dirty="0">
                <a:solidFill>
                  <a:schemeClr val="bg1"/>
                </a:solidFill>
              </a:rPr>
              <a:t>Α</a:t>
            </a:r>
            <a:r>
              <a:rPr lang="el-GR" sz="1600" b="1" dirty="0" smtClean="0">
                <a:solidFill>
                  <a:schemeClr val="bg1"/>
                </a:solidFill>
              </a:rPr>
              <a:t>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190747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36459" y="2818005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3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4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  <p:sp>
        <p:nvSpPr>
          <p:cNvPr id="15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01206" y="2402010"/>
            <a:ext cx="7588200" cy="17059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1800" dirty="0" smtClean="0"/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1800" dirty="0" smtClean="0"/>
              <a:t>Ο </a:t>
            </a:r>
            <a:r>
              <a:rPr lang="el-GR" sz="1800" b="1" dirty="0"/>
              <a:t>μέγιστος επιτρεπόμενος αριθμός πελατών </a:t>
            </a:r>
            <a:r>
              <a:rPr lang="el-GR" sz="1800" dirty="0"/>
              <a:t>ορίζεται ως ο αριθμός που προκύπτει από την αναλογία </a:t>
            </a:r>
            <a:r>
              <a:rPr lang="el-GR" sz="1800" dirty="0" smtClean="0"/>
              <a:t>ενός πελάτη </a:t>
            </a:r>
            <a:r>
              <a:rPr lang="el-GR" sz="1800" b="1" dirty="0" smtClean="0"/>
              <a:t>ανά 2,20 </a:t>
            </a:r>
            <a:r>
              <a:rPr lang="el-GR" sz="1800" b="1" dirty="0"/>
              <a:t>τ.μ. </a:t>
            </a:r>
            <a:r>
              <a:rPr lang="el-GR" sz="1800" b="1" dirty="0" smtClean="0"/>
              <a:t>συνολικής αδειοδοτούμενης επιφάνειας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l-GR" sz="1800" b="1" dirty="0" smtClean="0"/>
              <a:t> </a:t>
            </a:r>
            <a:r>
              <a:rPr lang="el-GR" sz="1800" dirty="0" smtClean="0"/>
              <a:t>Παραμένει σε ισχύ η διάταξη για την λειτουργία των υπαιθρίων και </a:t>
            </a:r>
            <a:r>
              <a:rPr lang="el-GR" sz="1800" dirty="0" err="1" smtClean="0"/>
              <a:t>ημιυπαίθριων</a:t>
            </a:r>
            <a:r>
              <a:rPr lang="el-GR" sz="1800" dirty="0" smtClean="0"/>
              <a:t> χώρων.</a:t>
            </a:r>
          </a:p>
          <a:p>
            <a:pPr lvl="0">
              <a:buFont typeface="Wingdings" panose="05000000000000000000" pitchFamily="2" charset="2"/>
              <a:buChar char="q"/>
            </a:pPr>
            <a:endParaRPr lang="el-GR" sz="1800" b="1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Θέση αριθμού διαφάνειας 3"/>
          <p:cNvSpPr txBox="1">
            <a:spLocks/>
          </p:cNvSpPr>
          <p:nvPr/>
        </p:nvSpPr>
        <p:spPr>
          <a:xfrm>
            <a:off x="9984296" y="6492240"/>
            <a:ext cx="1764800" cy="13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xmlns="" id="{D4C9F13B-2E07-45FA-A79B-11EF341B60FD}"/>
              </a:ext>
            </a:extLst>
          </p:cNvPr>
          <p:cNvSpPr/>
          <p:nvPr/>
        </p:nvSpPr>
        <p:spPr>
          <a:xfrm>
            <a:off x="426130" y="233472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100" b="1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Λειτουργία στον εσωτερικό χώρο των καταστημάτων υγειονομικού ενδιαφέροντος</a:t>
            </a:r>
            <a:endParaRPr lang="el-GR" sz="2100" b="1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7" name="3 - TextBox">
            <a:extLst>
              <a:ext uri="{FF2B5EF4-FFF2-40B4-BE49-F238E27FC236}">
                <a16:creationId xmlns:a16="http://schemas.microsoft.com/office/drawing/2014/main" xmlns="" id="{F16EABE2-B26C-45E8-BCFE-A538E8FD22C6}"/>
              </a:ext>
            </a:extLst>
          </p:cNvPr>
          <p:cNvSpPr txBox="1"/>
          <p:nvPr/>
        </p:nvSpPr>
        <p:spPr>
          <a:xfrm>
            <a:off x="554947" y="1240505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στο εσωτερικό των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xmlns="" id="{F399D1E1-C476-448E-9414-686D2B2AB2C5}"/>
              </a:ext>
            </a:extLst>
          </p:cNvPr>
          <p:cNvSpPr txBox="1"/>
          <p:nvPr/>
        </p:nvSpPr>
        <p:spPr bwMode="auto">
          <a:xfrm>
            <a:off x="1463040" y="2183642"/>
            <a:ext cx="1180886" cy="42171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8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8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8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92.0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TextBox 18">
            <a:extLst>
              <a:ext uri="{FF2B5EF4-FFF2-40B4-BE49-F238E27FC236}">
                <a16:creationId xmlns:a16="http://schemas.microsoft.com/office/drawing/2014/main" xmlns="" id="{BD7321E9-223E-4498-B559-979C84BB1C2A}"/>
              </a:ext>
            </a:extLst>
          </p:cNvPr>
          <p:cNvSpPr txBox="1"/>
          <p:nvPr/>
        </p:nvSpPr>
        <p:spPr bwMode="auto">
          <a:xfrm>
            <a:off x="2714854" y="2210936"/>
            <a:ext cx="7588200" cy="41898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spcBef>
                <a:spcPts val="300"/>
              </a:spcBef>
              <a:spcAft>
                <a:spcPts val="300"/>
              </a:spcAft>
              <a:buNone/>
            </a:pPr>
            <a:endParaRPr lang="el-GR" sz="18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800" dirty="0" smtClean="0"/>
              <a:t>Καθορίζεται </a:t>
            </a:r>
            <a:r>
              <a:rPr lang="el-GR" sz="1800" dirty="0"/>
              <a:t>ως ελάχιστη απόσταση μεταξύ των τραπεζιών σύμφωνα με την διάταξη των καθισμάτων  ως εξής </a:t>
            </a:r>
            <a:r>
              <a:rPr lang="el-GR" sz="1800" dirty="0" smtClean="0"/>
              <a:t>:</a:t>
            </a:r>
            <a:endParaRPr lang="el-GR" sz="1800" dirty="0"/>
          </a:p>
          <a:p>
            <a:pPr marL="0" lvl="1" indent="0">
              <a:spcBef>
                <a:spcPts val="300"/>
              </a:spcBef>
              <a:buNone/>
            </a:pPr>
            <a:r>
              <a:rPr lang="el-GR" sz="1800" b="1" dirty="0" smtClean="0"/>
              <a:t>α</a:t>
            </a:r>
            <a:r>
              <a:rPr lang="el-GR" sz="1800" b="1" dirty="0"/>
              <a:t>. </a:t>
            </a:r>
            <a:r>
              <a:rPr lang="el-GR" sz="1800" dirty="0"/>
              <a:t>Όταν στον ενδιάμεσο χώρο μεταξύ δύο παράπλευρων τραπεζιών </a:t>
            </a:r>
            <a:r>
              <a:rPr lang="el-GR" sz="1800" b="1" dirty="0"/>
              <a:t>δεν τοποθετείται καρέκλα σε κανένα εκ των δύο </a:t>
            </a:r>
            <a:r>
              <a:rPr lang="el-GR" sz="1800" dirty="0"/>
              <a:t>τότε η ελάχιστη απόσταση μεταξύ αυτών ορίζεται στα </a:t>
            </a:r>
            <a:r>
              <a:rPr lang="el-GR" sz="1800" b="1" dirty="0" smtClean="0"/>
              <a:t>0,</a:t>
            </a:r>
            <a:r>
              <a:rPr lang="en-US" sz="1800" b="1" dirty="0" smtClean="0"/>
              <a:t>9</a:t>
            </a:r>
            <a:r>
              <a:rPr lang="el-GR" sz="1800" b="1" dirty="0" smtClean="0"/>
              <a:t>0 </a:t>
            </a:r>
            <a:r>
              <a:rPr lang="el-GR" sz="1800" b="1" dirty="0"/>
              <a:t>μ</a:t>
            </a:r>
            <a:r>
              <a:rPr lang="el-GR" sz="1800" b="1" dirty="0" smtClean="0"/>
              <a:t>.</a:t>
            </a:r>
            <a:r>
              <a:rPr lang="el-GR" sz="1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l-GR" sz="1800" b="1" dirty="0" smtClean="0">
                <a:solidFill>
                  <a:schemeClr val="bg2">
                    <a:lumMod val="25000"/>
                  </a:schemeClr>
                </a:solidFill>
              </a:rPr>
              <a:t>(Παράρτημα 1)</a:t>
            </a:r>
            <a:endParaRPr lang="el-GR" sz="18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0" lvl="1" indent="0">
              <a:spcBef>
                <a:spcPts val="1200"/>
              </a:spcBef>
              <a:buNone/>
            </a:pPr>
            <a:r>
              <a:rPr lang="el-GR" sz="1800" b="1" dirty="0" smtClean="0"/>
              <a:t>β.</a:t>
            </a:r>
            <a:r>
              <a:rPr lang="el-GR" sz="1800" dirty="0"/>
              <a:t> Όταν στον ενδιάμεσο χώρο μεταξύ δύο παράπλευρων τραπεζιών </a:t>
            </a:r>
            <a:r>
              <a:rPr lang="el-GR" sz="1800" b="1" dirty="0"/>
              <a:t>τοποθετείται καρέκλα σε ένα εκ των δύο</a:t>
            </a:r>
            <a:r>
              <a:rPr lang="el-GR" sz="1800" dirty="0"/>
              <a:t> τότε η ελάχιστη απόσταση μεταξύ αυτών ορίζεται στα </a:t>
            </a:r>
            <a:r>
              <a:rPr lang="el-GR" sz="1800" b="1" dirty="0" smtClean="0"/>
              <a:t>1,20 μ. </a:t>
            </a:r>
            <a:r>
              <a:rPr lang="el-GR" sz="1800" b="1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sz="1800" b="1" dirty="0" smtClean="0">
                <a:solidFill>
                  <a:schemeClr val="bg2">
                    <a:lumMod val="25000"/>
                  </a:schemeClr>
                </a:solidFill>
              </a:rPr>
              <a:t>2)</a:t>
            </a:r>
            <a:endParaRPr lang="el-GR" sz="1800" b="1" dirty="0" smtClean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800" b="1" dirty="0" smtClean="0"/>
              <a:t>γ. </a:t>
            </a:r>
            <a:r>
              <a:rPr lang="el-GR" sz="1800" dirty="0" smtClean="0"/>
              <a:t>Όταν </a:t>
            </a:r>
            <a:r>
              <a:rPr lang="el-GR" sz="1800" dirty="0"/>
              <a:t>στον ενδιάμεσο χώρο μεταξύ δύο παράπλευρων τραπεζιών τοποθετείται </a:t>
            </a:r>
            <a:r>
              <a:rPr lang="el-GR" sz="1800" b="1" dirty="0"/>
              <a:t>καρέκλα σε κάθε ένα εκ των δύο </a:t>
            </a:r>
            <a:r>
              <a:rPr lang="el-GR" sz="1800" dirty="0"/>
              <a:t>τότε η ελάχιστη απόσταση μεταξύ αυτών ορίζεται στα </a:t>
            </a:r>
            <a:r>
              <a:rPr lang="el-GR" sz="1800" b="1" dirty="0" smtClean="0"/>
              <a:t>1,80 μ. </a:t>
            </a:r>
            <a:r>
              <a:rPr lang="el-GR" sz="1800" b="1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sz="1800" b="1" dirty="0" smtClean="0">
                <a:solidFill>
                  <a:schemeClr val="bg2">
                    <a:lumMod val="25000"/>
                  </a:schemeClr>
                </a:solidFill>
              </a:rPr>
              <a:t>3)</a:t>
            </a:r>
            <a:endParaRPr lang="el-GR" sz="2000" b="1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565150" lvl="1" indent="0">
              <a:buNone/>
            </a:pPr>
            <a:endParaRPr lang="el-GR" sz="1800" b="1" dirty="0" smtClean="0"/>
          </a:p>
          <a:p>
            <a:pPr marL="565150" lvl="1" indent="0">
              <a:buNone/>
            </a:pPr>
            <a:endParaRPr lang="el-GR" sz="1800" b="1" dirty="0"/>
          </a:p>
        </p:txBody>
      </p:sp>
      <p:sp>
        <p:nvSpPr>
          <p:cNvPr id="10" name="TextBox 66">
            <a:extLst>
              <a:ext uri="{FF2B5EF4-FFF2-40B4-BE49-F238E27FC236}">
                <a16:creationId xmlns:a16="http://schemas.microsoft.com/office/drawing/2014/main" xmlns="" id="{DCD2E8F2-1296-40F2-AD0D-2EEB4D31F48F}"/>
              </a:ext>
            </a:extLst>
          </p:cNvPr>
          <p:cNvSpPr txBox="1"/>
          <p:nvPr/>
        </p:nvSpPr>
        <p:spPr bwMode="auto">
          <a:xfrm>
            <a:off x="2692925" y="1698770"/>
            <a:ext cx="7596481" cy="414890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Ειδικές Διατάξεις </a:t>
            </a:r>
            <a:r>
              <a:rPr lang="el-GR" sz="1600" b="1" dirty="0">
                <a:solidFill>
                  <a:schemeClr val="bg1"/>
                </a:solidFill>
              </a:rPr>
              <a:t>Α</a:t>
            </a:r>
            <a:r>
              <a:rPr lang="el-GR" sz="1600" b="1" dirty="0" smtClean="0">
                <a:solidFill>
                  <a:schemeClr val="bg1"/>
                </a:solidFill>
              </a:rPr>
              <a:t>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>
                <a16:creationId xmlns:a16="http://schemas.microsoft.com/office/drawing/2014/main" xmlns="" id="{A81A6787-2B38-4125-838A-85748C4A7150}"/>
              </a:ext>
            </a:extLst>
          </p:cNvPr>
          <p:cNvSpPr txBox="1"/>
          <p:nvPr/>
        </p:nvSpPr>
        <p:spPr bwMode="auto">
          <a:xfrm>
            <a:off x="1463040" y="1689105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12" name="Group 9">
            <a:extLst>
              <a:ext uri="{FF2B5EF4-FFF2-40B4-BE49-F238E27FC236}">
                <a16:creationId xmlns:a16="http://schemas.microsoft.com/office/drawing/2014/main" xmlns="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022711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3" name="Freeform 93">
              <a:extLst>
                <a:ext uri="{FF2B5EF4-FFF2-40B4-BE49-F238E27FC236}">
                  <a16:creationId xmlns:a16="http://schemas.microsoft.com/office/drawing/2014/main" xmlns="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4" name="Freeform 94">
              <a:extLst>
                <a:ext uri="{FF2B5EF4-FFF2-40B4-BE49-F238E27FC236}">
                  <a16:creationId xmlns:a16="http://schemas.microsoft.com/office/drawing/2014/main" xmlns="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5" name="Freeform 95">
              <a:extLst>
                <a:ext uri="{FF2B5EF4-FFF2-40B4-BE49-F238E27FC236}">
                  <a16:creationId xmlns:a16="http://schemas.microsoft.com/office/drawing/2014/main" xmlns="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6" name="Freeform 96">
              <a:extLst>
                <a:ext uri="{FF2B5EF4-FFF2-40B4-BE49-F238E27FC236}">
                  <a16:creationId xmlns:a16="http://schemas.microsoft.com/office/drawing/2014/main" xmlns="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21</Words>
  <Application>Microsoft Office PowerPoint</Application>
  <PresentationFormat>Προσαρμογή</PresentationFormat>
  <Paragraphs>235</Paragraphs>
  <Slides>17</Slides>
  <Notes>0</Notes>
  <HiddenSlides>0</HiddenSlides>
  <MMClips>0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   </vt:lpstr>
      <vt:lpstr>Διαφάνεια 2</vt:lpstr>
      <vt:lpstr>Διαφάνεια 3</vt:lpstr>
      <vt:lpstr>Διαφάνεια 4</vt:lpstr>
      <vt:lpstr>Διαφάνεια 5</vt:lpstr>
      <vt:lpstr>Διαφάνεια 6</vt:lpstr>
      <vt:lpstr>Διαφάνεια 7</vt:lpstr>
      <vt:lpstr>Διαφάνεια 8</vt:lpstr>
      <vt:lpstr>Διαφάνεια 9</vt:lpstr>
      <vt:lpstr>Διαφάνεια 10</vt:lpstr>
      <vt:lpstr>Διαφάνεια 11</vt:lpstr>
      <vt:lpstr>Διαφάνεια 12</vt:lpstr>
      <vt:lpstr>Διαφάνεια 13</vt:lpstr>
      <vt:lpstr>Διαφάνεια 14</vt:lpstr>
      <vt:lpstr>Διαφάνεια 15</vt:lpstr>
      <vt:lpstr>Διαφάνεια 16</vt:lpstr>
      <vt:lpstr>Διαφάνεια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20-04-28T16:03:45Z</cp:lastPrinted>
  <dcterms:created xsi:type="dcterms:W3CDTF">2019-07-09T09:31:45Z</dcterms:created>
  <dcterms:modified xsi:type="dcterms:W3CDTF">2020-06-03T10:09:41Z</dcterms:modified>
</cp:coreProperties>
</file>